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</p:sldIdLst>
  <p:sldSz cx="12192000" cy="6858000"/>
  <p:notesSz cx="6858000" cy="9144000"/>
  <p:custDataLst>
    <p:tags r:id="rId4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1006B"/>
    <a:srgbClr val="B763BB"/>
    <a:srgbClr val="815AA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5858" autoAdjust="0"/>
    <p:restoredTop sz="94660"/>
  </p:normalViewPr>
  <p:slideViewPr>
    <p:cSldViewPr snapToGrid="0">
      <p:cViewPr>
        <p:scale>
          <a:sx n="146" d="100"/>
          <a:sy n="146" d="100"/>
        </p:scale>
        <p:origin x="144" y="-62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FEF4CCB-F698-66E4-3B2E-ECA27BAA9DE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056AB8B2-5528-CB59-2694-6F90892C0BD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37FABE5F-F7C9-F923-43E1-95E1E8B436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75460E-FBC7-4910-881B-7EF27D57C372}" type="datetimeFigureOut">
              <a:rPr lang="fr-FR" smtClean="0"/>
              <a:t>22/04/20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B1410557-ABFA-DD2B-D578-92D7C692E7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CA6A669-F781-51ED-1004-7F6A0DEA7F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8EBC00-D808-455E-9EC4-D8F2E277D1D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768410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7A5F8DF-E173-D0D6-4D9B-50B69E0842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E72FA967-D609-E149-1B26-2BD0FDF682F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E38D266-25C0-3AA9-1195-81861C6BB8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75460E-FBC7-4910-881B-7EF27D57C372}" type="datetimeFigureOut">
              <a:rPr lang="fr-FR" smtClean="0"/>
              <a:t>22/04/20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1A85422F-1802-0DF3-2C49-A39DC13B1C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E653595C-78AE-1CB9-C86A-F6CE321E5E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8EBC00-D808-455E-9EC4-D8F2E277D1D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931068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>
            <a:extLst>
              <a:ext uri="{FF2B5EF4-FFF2-40B4-BE49-F238E27FC236}">
                <a16:creationId xmlns:a16="http://schemas.microsoft.com/office/drawing/2014/main" id="{DE9CDF7C-A55C-526D-38C2-15161C0245F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F58733EA-57F4-CAB6-8994-610245F685F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86209AB2-831E-F35B-2EBA-EC7E06C9FE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75460E-FBC7-4910-881B-7EF27D57C372}" type="datetimeFigureOut">
              <a:rPr lang="fr-FR" smtClean="0"/>
              <a:t>22/04/20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168F5E90-5E80-0BED-4BB6-5D1353F157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1D8DD96F-9773-8304-3E54-37BE718F15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8EBC00-D808-455E-9EC4-D8F2E277D1D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712836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D575F48-D00A-ACCC-CC8F-C0C8BA1489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1D778EA-1C2D-1111-4D42-003C58FD470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9CF8C861-5A19-24DA-8FF7-898DB06B1A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75460E-FBC7-4910-881B-7EF27D57C372}" type="datetimeFigureOut">
              <a:rPr lang="fr-FR" smtClean="0"/>
              <a:t>22/04/20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61F5D96A-A203-8511-C40A-52AF2CE521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B1735B0-F52F-9049-1F1A-5384E9D436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8EBC00-D808-455E-9EC4-D8F2E277D1D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52713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3C0731D-14F3-BC54-C142-46B665A010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C5B469E0-1DFB-2D5B-D4A5-D4247965ACF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8210078A-1E47-8A55-100B-ED8545E945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75460E-FBC7-4910-881B-7EF27D57C372}" type="datetimeFigureOut">
              <a:rPr lang="fr-FR" smtClean="0"/>
              <a:t>22/04/20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19E95ECC-3DAC-830C-697B-16EEC02902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13397019-91BA-D5B8-B037-A354B1D9F7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8EBC00-D808-455E-9EC4-D8F2E277D1D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3654286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35C0033-691E-0767-440F-36D789D270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A75129EE-EA07-FFC3-956B-5F915E94E8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1EC6C11D-0637-A469-940E-0F9C212AC17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032A272F-EEEE-64B9-8FDE-037C0F91D6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75460E-FBC7-4910-881B-7EF27D57C372}" type="datetimeFigureOut">
              <a:rPr lang="fr-FR" smtClean="0"/>
              <a:t>22/04/2024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9E5BADB2-68F1-C51D-44F4-B68090B6A7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38B86633-39B9-9B8C-E8B6-36D75D23AB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8EBC00-D808-455E-9EC4-D8F2E277D1D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70254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C1A0F25-B4DA-D561-B1F5-C8DA4BDA21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FA0BC76A-2FCE-D7B9-DD55-14F349FA4B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01FEA1DA-8C61-489F-6225-C7C9329C592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FB9E48C2-4DB0-770D-0836-B3826B51115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48F89A91-39A3-CD12-5346-FD3ED78CF81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CB8CCFF5-737A-3685-ABE6-8B9E4C253A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75460E-FBC7-4910-881B-7EF27D57C372}" type="datetimeFigureOut">
              <a:rPr lang="fr-FR" smtClean="0"/>
              <a:t>22/04/2024</a:t>
            </a:fld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2890FF12-3074-198C-4AA3-219CC9C00F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5F9C3269-5423-1674-2F45-61435C3B35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8EBC00-D808-455E-9EC4-D8F2E277D1D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787766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F7EF734-3139-AA03-E137-43D6690BD8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42FA5474-CC42-904A-6802-93933B34EF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75460E-FBC7-4910-881B-7EF27D57C372}" type="datetimeFigureOut">
              <a:rPr lang="fr-FR" smtClean="0"/>
              <a:t>22/04/2024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6ABCE5AC-04D3-9027-DE40-BDA2FC598F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E7F2A26E-F9C2-FCBD-0684-5D977CF26D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8EBC00-D808-455E-9EC4-D8F2E277D1D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082016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80E0AC56-528A-5D47-4189-D6B186FE4A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75460E-FBC7-4910-881B-7EF27D57C372}" type="datetimeFigureOut">
              <a:rPr lang="fr-FR" smtClean="0"/>
              <a:t>22/04/2024</a:t>
            </a:fld>
            <a:endParaRPr lang="fr-FR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1C1D6357-E314-13F0-81FE-40973BBCF7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A60FAB5C-D007-7760-6DA3-EC74707247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8EBC00-D808-455E-9EC4-D8F2E277D1D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088963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AC10AAE-3002-454B-CD07-4D984C37F0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13FEDA1-6593-34E4-391A-824C722883B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826810AB-43A3-CC5F-85E8-E7180656B33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DBF54EA5-B4B7-EE8B-2FBF-51E7FAC1B4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75460E-FBC7-4910-881B-7EF27D57C372}" type="datetimeFigureOut">
              <a:rPr lang="fr-FR" smtClean="0"/>
              <a:t>22/04/2024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F072D1E3-3C60-0549-7AA8-50F025B2A8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E9943032-73DE-1D4B-A08D-B7BA3C4A9F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8EBC00-D808-455E-9EC4-D8F2E277D1D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4080777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8FAEBE6-DB84-0F28-8785-A78D990776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AB0DE508-8D5D-EE36-C406-38932DFD7D6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E215205E-3926-0AFF-4EA4-261B03E9459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7A4DB179-1747-0E60-5535-31845531E6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75460E-FBC7-4910-881B-7EF27D57C372}" type="datetimeFigureOut">
              <a:rPr lang="fr-FR" smtClean="0"/>
              <a:t>22/04/2024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57350364-A60B-42B7-A74D-2179CFE13B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2269D431-FE04-68DE-BD36-D43FD03168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8EBC00-D808-455E-9EC4-D8F2E277D1D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183806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377AA872-39B7-4428-18B7-A77F3C42E6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1226816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14" imgW="395" imgH="394" progId="TCLayout.ActiveDocument.1">
                  <p:embed/>
                </p:oleObj>
              </mc:Choice>
              <mc:Fallback>
                <p:oleObj name="Diapositive think-cell" r:id="rId1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587ED4C3-EEC2-698B-4FBC-225E76B0E8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D12FD54-CB13-B513-B33E-F26AC58C368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011B3BE-F929-26DD-31F7-D33B1BCB71C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975460E-FBC7-4910-881B-7EF27D57C372}" type="datetimeFigureOut">
              <a:rPr lang="fr-FR" smtClean="0"/>
              <a:t>22/04/20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A12A967D-4337-766E-740D-2020A27643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B337225-7973-495E-1DED-BF47EC4198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08EBC00-D808-455E-9EC4-D8F2E277D1D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44640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6" Type="http://schemas.openxmlformats.org/officeDocument/2006/relationships/tags" Target="../tags/tag28.xml"/><Relationship Id="rId21" Type="http://schemas.openxmlformats.org/officeDocument/2006/relationships/tags" Target="../tags/tag23.xml"/><Relationship Id="rId42" Type="http://schemas.openxmlformats.org/officeDocument/2006/relationships/tags" Target="../tags/tag44.xml"/><Relationship Id="rId47" Type="http://schemas.openxmlformats.org/officeDocument/2006/relationships/tags" Target="../tags/tag49.xml"/><Relationship Id="rId63" Type="http://schemas.openxmlformats.org/officeDocument/2006/relationships/tags" Target="../tags/tag65.xml"/><Relationship Id="rId68" Type="http://schemas.openxmlformats.org/officeDocument/2006/relationships/tags" Target="../tags/tag70.xml"/><Relationship Id="rId84" Type="http://schemas.openxmlformats.org/officeDocument/2006/relationships/tags" Target="../tags/tag86.xml"/><Relationship Id="rId89" Type="http://schemas.openxmlformats.org/officeDocument/2006/relationships/tags" Target="../tags/tag91.xml"/><Relationship Id="rId16" Type="http://schemas.openxmlformats.org/officeDocument/2006/relationships/tags" Target="../tags/tag18.xml"/><Relationship Id="rId11" Type="http://schemas.openxmlformats.org/officeDocument/2006/relationships/tags" Target="../tags/tag13.xml"/><Relationship Id="rId32" Type="http://schemas.openxmlformats.org/officeDocument/2006/relationships/tags" Target="../tags/tag34.xml"/><Relationship Id="rId37" Type="http://schemas.openxmlformats.org/officeDocument/2006/relationships/tags" Target="../tags/tag39.xml"/><Relationship Id="rId53" Type="http://schemas.openxmlformats.org/officeDocument/2006/relationships/tags" Target="../tags/tag55.xml"/><Relationship Id="rId58" Type="http://schemas.openxmlformats.org/officeDocument/2006/relationships/tags" Target="../tags/tag60.xml"/><Relationship Id="rId74" Type="http://schemas.openxmlformats.org/officeDocument/2006/relationships/tags" Target="../tags/tag76.xml"/><Relationship Id="rId79" Type="http://schemas.openxmlformats.org/officeDocument/2006/relationships/tags" Target="../tags/tag81.xml"/><Relationship Id="rId102" Type="http://schemas.openxmlformats.org/officeDocument/2006/relationships/oleObject" Target="../embeddings/oleObject2.bin"/><Relationship Id="rId5" Type="http://schemas.openxmlformats.org/officeDocument/2006/relationships/tags" Target="../tags/tag7.xml"/><Relationship Id="rId90" Type="http://schemas.openxmlformats.org/officeDocument/2006/relationships/tags" Target="../tags/tag92.xml"/><Relationship Id="rId95" Type="http://schemas.openxmlformats.org/officeDocument/2006/relationships/tags" Target="../tags/tag97.xml"/><Relationship Id="rId22" Type="http://schemas.openxmlformats.org/officeDocument/2006/relationships/tags" Target="../tags/tag24.xml"/><Relationship Id="rId27" Type="http://schemas.openxmlformats.org/officeDocument/2006/relationships/tags" Target="../tags/tag29.xml"/><Relationship Id="rId43" Type="http://schemas.openxmlformats.org/officeDocument/2006/relationships/tags" Target="../tags/tag45.xml"/><Relationship Id="rId48" Type="http://schemas.openxmlformats.org/officeDocument/2006/relationships/tags" Target="../tags/tag50.xml"/><Relationship Id="rId64" Type="http://schemas.openxmlformats.org/officeDocument/2006/relationships/tags" Target="../tags/tag66.xml"/><Relationship Id="rId69" Type="http://schemas.openxmlformats.org/officeDocument/2006/relationships/tags" Target="../tags/tag71.xml"/><Relationship Id="rId80" Type="http://schemas.openxmlformats.org/officeDocument/2006/relationships/tags" Target="../tags/tag82.xml"/><Relationship Id="rId85" Type="http://schemas.openxmlformats.org/officeDocument/2006/relationships/tags" Target="../tags/tag87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5" Type="http://schemas.openxmlformats.org/officeDocument/2006/relationships/tags" Target="../tags/tag27.xml"/><Relationship Id="rId33" Type="http://schemas.openxmlformats.org/officeDocument/2006/relationships/tags" Target="../tags/tag35.xml"/><Relationship Id="rId38" Type="http://schemas.openxmlformats.org/officeDocument/2006/relationships/tags" Target="../tags/tag40.xml"/><Relationship Id="rId46" Type="http://schemas.openxmlformats.org/officeDocument/2006/relationships/tags" Target="../tags/tag48.xml"/><Relationship Id="rId59" Type="http://schemas.openxmlformats.org/officeDocument/2006/relationships/tags" Target="../tags/tag61.xml"/><Relationship Id="rId67" Type="http://schemas.openxmlformats.org/officeDocument/2006/relationships/tags" Target="../tags/tag69.xml"/><Relationship Id="rId103" Type="http://schemas.openxmlformats.org/officeDocument/2006/relationships/image" Target="../media/image1.emf"/><Relationship Id="rId20" Type="http://schemas.openxmlformats.org/officeDocument/2006/relationships/tags" Target="../tags/tag22.xml"/><Relationship Id="rId41" Type="http://schemas.openxmlformats.org/officeDocument/2006/relationships/tags" Target="../tags/tag43.xml"/><Relationship Id="rId54" Type="http://schemas.openxmlformats.org/officeDocument/2006/relationships/tags" Target="../tags/tag56.xml"/><Relationship Id="rId62" Type="http://schemas.openxmlformats.org/officeDocument/2006/relationships/tags" Target="../tags/tag64.xml"/><Relationship Id="rId70" Type="http://schemas.openxmlformats.org/officeDocument/2006/relationships/tags" Target="../tags/tag72.xml"/><Relationship Id="rId75" Type="http://schemas.openxmlformats.org/officeDocument/2006/relationships/tags" Target="../tags/tag77.xml"/><Relationship Id="rId83" Type="http://schemas.openxmlformats.org/officeDocument/2006/relationships/tags" Target="../tags/tag85.xml"/><Relationship Id="rId88" Type="http://schemas.openxmlformats.org/officeDocument/2006/relationships/tags" Target="../tags/tag90.xml"/><Relationship Id="rId91" Type="http://schemas.openxmlformats.org/officeDocument/2006/relationships/tags" Target="../tags/tag93.xml"/><Relationship Id="rId96" Type="http://schemas.openxmlformats.org/officeDocument/2006/relationships/tags" Target="../tags/tag98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5" Type="http://schemas.openxmlformats.org/officeDocument/2006/relationships/tags" Target="../tags/tag17.xml"/><Relationship Id="rId23" Type="http://schemas.openxmlformats.org/officeDocument/2006/relationships/tags" Target="../tags/tag25.xml"/><Relationship Id="rId28" Type="http://schemas.openxmlformats.org/officeDocument/2006/relationships/tags" Target="../tags/tag30.xml"/><Relationship Id="rId36" Type="http://schemas.openxmlformats.org/officeDocument/2006/relationships/tags" Target="../tags/tag38.xml"/><Relationship Id="rId49" Type="http://schemas.openxmlformats.org/officeDocument/2006/relationships/tags" Target="../tags/tag51.xml"/><Relationship Id="rId57" Type="http://schemas.openxmlformats.org/officeDocument/2006/relationships/tags" Target="../tags/tag59.xml"/><Relationship Id="rId10" Type="http://schemas.openxmlformats.org/officeDocument/2006/relationships/tags" Target="../tags/tag12.xml"/><Relationship Id="rId31" Type="http://schemas.openxmlformats.org/officeDocument/2006/relationships/tags" Target="../tags/tag33.xml"/><Relationship Id="rId44" Type="http://schemas.openxmlformats.org/officeDocument/2006/relationships/tags" Target="../tags/tag46.xml"/><Relationship Id="rId52" Type="http://schemas.openxmlformats.org/officeDocument/2006/relationships/tags" Target="../tags/tag54.xml"/><Relationship Id="rId60" Type="http://schemas.openxmlformats.org/officeDocument/2006/relationships/tags" Target="../tags/tag62.xml"/><Relationship Id="rId65" Type="http://schemas.openxmlformats.org/officeDocument/2006/relationships/tags" Target="../tags/tag67.xml"/><Relationship Id="rId73" Type="http://schemas.openxmlformats.org/officeDocument/2006/relationships/tags" Target="../tags/tag75.xml"/><Relationship Id="rId78" Type="http://schemas.openxmlformats.org/officeDocument/2006/relationships/tags" Target="../tags/tag80.xml"/><Relationship Id="rId81" Type="http://schemas.openxmlformats.org/officeDocument/2006/relationships/tags" Target="../tags/tag83.xml"/><Relationship Id="rId86" Type="http://schemas.openxmlformats.org/officeDocument/2006/relationships/tags" Target="../tags/tag88.xml"/><Relationship Id="rId94" Type="http://schemas.openxmlformats.org/officeDocument/2006/relationships/tags" Target="../tags/tag96.xml"/><Relationship Id="rId99" Type="http://schemas.openxmlformats.org/officeDocument/2006/relationships/tags" Target="../tags/tag101.xml"/><Relationship Id="rId101" Type="http://schemas.openxmlformats.org/officeDocument/2006/relationships/slideLayout" Target="../slideLayouts/slideLayout7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39" Type="http://schemas.openxmlformats.org/officeDocument/2006/relationships/tags" Target="../tags/tag41.xml"/><Relationship Id="rId34" Type="http://schemas.openxmlformats.org/officeDocument/2006/relationships/tags" Target="../tags/tag36.xml"/><Relationship Id="rId50" Type="http://schemas.openxmlformats.org/officeDocument/2006/relationships/tags" Target="../tags/tag52.xml"/><Relationship Id="rId55" Type="http://schemas.openxmlformats.org/officeDocument/2006/relationships/tags" Target="../tags/tag57.xml"/><Relationship Id="rId76" Type="http://schemas.openxmlformats.org/officeDocument/2006/relationships/tags" Target="../tags/tag78.xml"/><Relationship Id="rId97" Type="http://schemas.openxmlformats.org/officeDocument/2006/relationships/tags" Target="../tags/tag99.xml"/><Relationship Id="rId7" Type="http://schemas.openxmlformats.org/officeDocument/2006/relationships/tags" Target="../tags/tag9.xml"/><Relationship Id="rId71" Type="http://schemas.openxmlformats.org/officeDocument/2006/relationships/tags" Target="../tags/tag73.xml"/><Relationship Id="rId92" Type="http://schemas.openxmlformats.org/officeDocument/2006/relationships/tags" Target="../tags/tag94.xml"/><Relationship Id="rId2" Type="http://schemas.openxmlformats.org/officeDocument/2006/relationships/tags" Target="../tags/tag4.xml"/><Relationship Id="rId29" Type="http://schemas.openxmlformats.org/officeDocument/2006/relationships/tags" Target="../tags/tag31.xml"/><Relationship Id="rId24" Type="http://schemas.openxmlformats.org/officeDocument/2006/relationships/tags" Target="../tags/tag26.xml"/><Relationship Id="rId40" Type="http://schemas.openxmlformats.org/officeDocument/2006/relationships/tags" Target="../tags/tag42.xml"/><Relationship Id="rId45" Type="http://schemas.openxmlformats.org/officeDocument/2006/relationships/tags" Target="../tags/tag47.xml"/><Relationship Id="rId66" Type="http://schemas.openxmlformats.org/officeDocument/2006/relationships/tags" Target="../tags/tag68.xml"/><Relationship Id="rId87" Type="http://schemas.openxmlformats.org/officeDocument/2006/relationships/tags" Target="../tags/tag89.xml"/><Relationship Id="rId61" Type="http://schemas.openxmlformats.org/officeDocument/2006/relationships/tags" Target="../tags/tag63.xml"/><Relationship Id="rId82" Type="http://schemas.openxmlformats.org/officeDocument/2006/relationships/tags" Target="../tags/tag84.xml"/><Relationship Id="rId19" Type="http://schemas.openxmlformats.org/officeDocument/2006/relationships/tags" Target="../tags/tag21.xml"/><Relationship Id="rId14" Type="http://schemas.openxmlformats.org/officeDocument/2006/relationships/tags" Target="../tags/tag16.xml"/><Relationship Id="rId30" Type="http://schemas.openxmlformats.org/officeDocument/2006/relationships/tags" Target="../tags/tag32.xml"/><Relationship Id="rId35" Type="http://schemas.openxmlformats.org/officeDocument/2006/relationships/tags" Target="../tags/tag37.xml"/><Relationship Id="rId56" Type="http://schemas.openxmlformats.org/officeDocument/2006/relationships/tags" Target="../tags/tag58.xml"/><Relationship Id="rId77" Type="http://schemas.openxmlformats.org/officeDocument/2006/relationships/tags" Target="../tags/tag79.xml"/><Relationship Id="rId100" Type="http://schemas.openxmlformats.org/officeDocument/2006/relationships/tags" Target="../tags/tag102.xml"/><Relationship Id="rId8" Type="http://schemas.openxmlformats.org/officeDocument/2006/relationships/tags" Target="../tags/tag10.xml"/><Relationship Id="rId51" Type="http://schemas.openxmlformats.org/officeDocument/2006/relationships/tags" Target="../tags/tag53.xml"/><Relationship Id="rId72" Type="http://schemas.openxmlformats.org/officeDocument/2006/relationships/tags" Target="../tags/tag74.xml"/><Relationship Id="rId93" Type="http://schemas.openxmlformats.org/officeDocument/2006/relationships/tags" Target="../tags/tag95.xml"/><Relationship Id="rId98" Type="http://schemas.openxmlformats.org/officeDocument/2006/relationships/tags" Target="../tags/tag100.xml"/><Relationship Id="rId3" Type="http://schemas.openxmlformats.org/officeDocument/2006/relationships/tags" Target="../tags/tag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9200E54-E16B-00CF-5B35-567E16B3C68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CAA10106-7139-F55C-1397-0F8E6603812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652531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" name="think-cell data - do not delete" hidden="1">
            <a:extLst>
              <a:ext uri="{FF2B5EF4-FFF2-40B4-BE49-F238E27FC236}">
                <a16:creationId xmlns:a16="http://schemas.microsoft.com/office/drawing/2014/main" id="{1814B80F-4219-E029-9C84-3D987648C1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5502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102" imgW="395" imgH="394" progId="TCLayout.ActiveDocument.1">
                  <p:embed/>
                </p:oleObj>
              </mc:Choice>
              <mc:Fallback>
                <p:oleObj name="Diapositive think-cell" r:id="rId102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" name="Espace réservé du texte 2">
            <a:extLst>
              <a:ext uri="{FF2B5EF4-FFF2-40B4-BE49-F238E27FC236}">
                <a16:creationId xmlns:a16="http://schemas.microsoft.com/office/drawing/2014/main" id="{3D12FD54-CB13-B513-B33E-F26AC58C3686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3236026" y="-11368"/>
            <a:ext cx="7634726" cy="211975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none" lIns="0" tIns="17463" rIns="0" bIns="1746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AE10219-4697-480F-A336-45271B1F9221}" type="datetime'''''''''''''''''''''20''''2''''''4'''''">
              <a:rPr lang="fr-FR" altLang="en-US" sz="1000" b="1" smtClean="0">
                <a:effectLst/>
                <a:latin typeface="Avenir LT Std 65 Medium" panose="020B0803020203020204" pitchFamily="34" charset="0"/>
                <a:sym typeface="Avenir LT Std 65 Medium" panose="020B0803020203020204" pitchFamily="3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4</a:t>
            </a:fld>
            <a:endParaRPr lang="fr-FR" sz="1000" b="1" dirty="0">
              <a:latin typeface="Avenir LT Std 65 Medium" panose="020B0803020203020204" pitchFamily="34" charset="0"/>
              <a:sym typeface="Avenir LT Std 65 Medium" panose="020B0803020203020204" pitchFamily="34" charset="0"/>
            </a:endParaRPr>
          </a:p>
        </p:txBody>
      </p:sp>
      <p:sp>
        <p:nvSpPr>
          <p:cNvPr id="116" name="Espace réservé du texte 2">
            <a:extLst>
              <a:ext uri="{FF2B5EF4-FFF2-40B4-BE49-F238E27FC236}">
                <a16:creationId xmlns:a16="http://schemas.microsoft.com/office/drawing/2014/main" id="{7553668D-2683-C2D0-B8C9-D31ACE722DC8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3233426" y="203683"/>
            <a:ext cx="2213953" cy="17901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814D432-CFF8-4448-A609-E7F2FD46DB42}" type="datetime'''T''''''1'''''''''''''''''''''''''''''''''''">
              <a:rPr lang="fr-FR" altLang="en-US" sz="1000" smtClean="0">
                <a:latin typeface="Avenir LT Std 65 Medium" panose="020B0803020203020204" pitchFamily="34" charset="0"/>
                <a:sym typeface="Avenir LT Std 65 Medium" panose="020B0803020203020204" pitchFamily="34" charset="0"/>
              </a:rPr>
              <a:pPr/>
              <a:t>T1</a:t>
            </a:fld>
            <a:endParaRPr lang="fr-FR" sz="1000" dirty="0">
              <a:latin typeface="Avenir LT Std 65 Medium" panose="020B0803020203020204" pitchFamily="34" charset="0"/>
              <a:sym typeface="Avenir LT Std 65 Medium" panose="020B0803020203020204" pitchFamily="34" charset="0"/>
            </a:endParaRPr>
          </a:p>
        </p:txBody>
      </p:sp>
      <p:sp>
        <p:nvSpPr>
          <p:cNvPr id="111" name="Espace réservé du texte 2">
            <a:extLst>
              <a:ext uri="{FF2B5EF4-FFF2-40B4-BE49-F238E27FC236}">
                <a16:creationId xmlns:a16="http://schemas.microsoft.com/office/drawing/2014/main" id="{3D12FD54-CB13-B513-B33E-F26AC58C3686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5600857" y="200607"/>
            <a:ext cx="3637719" cy="186827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828F822-6716-4C1A-9117-7AEBEF437856}" type="datetime'''''''''''''''''''''''T2'''''''''''''''''''''''">
              <a:rPr lang="fr-FR" altLang="en-US" sz="1000" smtClean="0">
                <a:latin typeface="Avenir LT Std 65 Medium" panose="020B0803020203020204" pitchFamily="34" charset="0"/>
                <a:sym typeface="Avenir LT Std 65 Medium" panose="020B0803020203020204" pitchFamily="34" charset="0"/>
              </a:rPr>
              <a:pPr/>
              <a:t>T2</a:t>
            </a:fld>
            <a:endParaRPr lang="fr-FR" sz="1000" dirty="0">
              <a:latin typeface="Avenir LT Std 65 Medium" panose="020B0803020203020204" pitchFamily="34" charset="0"/>
              <a:sym typeface="Avenir LT Std 65 Medium" panose="020B0803020203020204" pitchFamily="34" charset="0"/>
            </a:endParaRPr>
          </a:p>
        </p:txBody>
      </p:sp>
      <p:sp>
        <p:nvSpPr>
          <p:cNvPr id="114" name="Espace réservé du texte 2">
            <a:extLst>
              <a:ext uri="{FF2B5EF4-FFF2-40B4-BE49-F238E27FC236}">
                <a16:creationId xmlns:a16="http://schemas.microsoft.com/office/drawing/2014/main" id="{867A5C9B-C782-56EA-0302-9812487E213E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3234420" y="383067"/>
            <a:ext cx="826887" cy="168274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1000" dirty="0">
                <a:latin typeface="Avenir LT Std 65 Medium" panose="020B0803020203020204" pitchFamily="34" charset="0"/>
                <a:sym typeface="Avenir LT Std 65 Medium" panose="020B0803020203020204" pitchFamily="34" charset="0"/>
              </a:rPr>
              <a:t>Février</a:t>
            </a:r>
          </a:p>
        </p:txBody>
      </p:sp>
      <p:sp>
        <p:nvSpPr>
          <p:cNvPr id="33" name="Espace réservé du texte 2">
            <a:extLst>
              <a:ext uri="{FF2B5EF4-FFF2-40B4-BE49-F238E27FC236}">
                <a16:creationId xmlns:a16="http://schemas.microsoft.com/office/drawing/2014/main" id="{3D12FD54-CB13-B513-B33E-F26AC58C3686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4061308" y="387829"/>
            <a:ext cx="1386086" cy="163511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fr-FR" altLang="en-US" sz="1000" dirty="0">
                <a:effectLst/>
                <a:latin typeface="Avenir LT Std 65 Medium" panose="020B0803020203020204" pitchFamily="34" charset="0"/>
                <a:sym typeface="Avenir LT Std 65 Medium" panose="020B0803020203020204" pitchFamily="34" charset="0"/>
              </a:rPr>
              <a:t>Mars</a:t>
            </a:r>
            <a:endParaRPr lang="fr-FR" sz="1000" dirty="0">
              <a:latin typeface="Avenir LT Std 65 Medium" panose="020B0803020203020204" pitchFamily="34" charset="0"/>
              <a:sym typeface="Avenir LT Std 65 Medium" panose="020B0803020203020204" pitchFamily="34" charset="0"/>
            </a:endParaRPr>
          </a:p>
        </p:txBody>
      </p:sp>
      <p:sp>
        <p:nvSpPr>
          <p:cNvPr id="118" name="Espace réservé du texte 2">
            <a:extLst>
              <a:ext uri="{FF2B5EF4-FFF2-40B4-BE49-F238E27FC236}">
                <a16:creationId xmlns:a16="http://schemas.microsoft.com/office/drawing/2014/main" id="{DE94F3EF-3EE4-5E83-3C66-6CB38D123E4D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5449142" y="389043"/>
            <a:ext cx="1293095" cy="16107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fr-FR" altLang="en-US" sz="1000" dirty="0">
                <a:latin typeface="Avenir LT Std 65 Medium" panose="020B0803020203020204" pitchFamily="34" charset="0"/>
                <a:sym typeface="Avenir LT Std 65 Medium" panose="020B0803020203020204" pitchFamily="34" charset="0"/>
              </a:rPr>
              <a:t>Avril</a:t>
            </a:r>
            <a:endParaRPr lang="fr-FR" sz="1000" dirty="0">
              <a:latin typeface="Avenir LT Std 65 Medium" panose="020B0803020203020204" pitchFamily="34" charset="0"/>
              <a:sym typeface="Avenir LT Std 65 Medium" panose="020B0803020203020204" pitchFamily="34" charset="0"/>
            </a:endParaRPr>
          </a:p>
        </p:txBody>
      </p:sp>
      <p:sp>
        <p:nvSpPr>
          <p:cNvPr id="120" name="Espace réservé du texte 2">
            <a:extLst>
              <a:ext uri="{FF2B5EF4-FFF2-40B4-BE49-F238E27FC236}">
                <a16:creationId xmlns:a16="http://schemas.microsoft.com/office/drawing/2014/main" id="{A1F39263-C017-0383-0807-272F06B9E85F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6740105" y="382331"/>
            <a:ext cx="1201945" cy="161074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1000" dirty="0">
                <a:latin typeface="Avenir LT Std 65 Medium" panose="020B0803020203020204" pitchFamily="34" charset="0"/>
                <a:sym typeface="Avenir LT Std 65 Medium" panose="020B0803020203020204" pitchFamily="34" charset="0"/>
              </a:rPr>
              <a:t>Mai</a:t>
            </a:r>
          </a:p>
        </p:txBody>
      </p:sp>
      <p:sp>
        <p:nvSpPr>
          <p:cNvPr id="121" name="Espace réservé du texte 2">
            <a:extLst>
              <a:ext uri="{FF2B5EF4-FFF2-40B4-BE49-F238E27FC236}">
                <a16:creationId xmlns:a16="http://schemas.microsoft.com/office/drawing/2014/main" id="{364D9652-788F-5171-0F6E-8AD16BF53D8A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7947707" y="383067"/>
            <a:ext cx="1290875" cy="161756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fr-FR" altLang="en-US" sz="1000" dirty="0">
                <a:latin typeface="Avenir LT Std 65 Medium" panose="020B0803020203020204" pitchFamily="34" charset="0"/>
                <a:sym typeface="Avenir LT Std 65 Medium" panose="020B0803020203020204" pitchFamily="34" charset="0"/>
              </a:rPr>
              <a:t>Juin</a:t>
            </a:r>
            <a:endParaRPr lang="fr-FR" sz="1000" dirty="0">
              <a:latin typeface="Avenir LT Std 65 Medium" panose="020B0803020203020204" pitchFamily="34" charset="0"/>
              <a:sym typeface="Avenir LT Std 65 Medium" panose="020B0803020203020204" pitchFamily="34" charset="0"/>
            </a:endParaRPr>
          </a:p>
        </p:txBody>
      </p:sp>
      <p:cxnSp>
        <p:nvCxnSpPr>
          <p:cNvPr id="127" name="Connecteur droit 126">
            <a:extLst>
              <a:ext uri="{FF2B5EF4-FFF2-40B4-BE49-F238E27FC236}">
                <a16:creationId xmlns:a16="http://schemas.microsoft.com/office/drawing/2014/main" id="{85C9D20E-BB4B-3C0B-8384-A13B3BE0EF86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 bwMode="auto">
          <a:xfrm>
            <a:off x="6733631" y="531497"/>
            <a:ext cx="0" cy="6008927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0" name="Connecteur droit 109">
            <a:extLst>
              <a:ext uri="{FF2B5EF4-FFF2-40B4-BE49-F238E27FC236}">
                <a16:creationId xmlns:a16="http://schemas.microsoft.com/office/drawing/2014/main" id="{FC1116C2-BDE7-338C-19FA-5783480676F7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 bwMode="auto">
          <a:xfrm>
            <a:off x="11145778" y="115572"/>
            <a:ext cx="0" cy="6435522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" name="Connecteur droit 57">
            <a:extLst>
              <a:ext uri="{FF2B5EF4-FFF2-40B4-BE49-F238E27FC236}">
                <a16:creationId xmlns:a16="http://schemas.microsoft.com/office/drawing/2014/main" id="{209A667A-64C7-816E-E29F-F2C28C6647B1}"/>
              </a:ext>
            </a:extLst>
          </p:cNvPr>
          <p:cNvCxnSpPr>
            <a:cxnSpLocks/>
          </p:cNvCxnSpPr>
          <p:nvPr>
            <p:custDataLst>
              <p:tags r:id="rId12"/>
            </p:custDataLst>
          </p:nvPr>
        </p:nvCxnSpPr>
        <p:spPr bwMode="auto">
          <a:xfrm flipH="1">
            <a:off x="406434" y="551340"/>
            <a:ext cx="6316" cy="5999754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" name="Connecteur droit 56">
            <a:extLst>
              <a:ext uri="{FF2B5EF4-FFF2-40B4-BE49-F238E27FC236}">
                <a16:creationId xmlns:a16="http://schemas.microsoft.com/office/drawing/2014/main" id="{FDB85960-A60F-F078-7D32-57960F9C728F}"/>
              </a:ext>
            </a:extLst>
          </p:cNvPr>
          <p:cNvCxnSpPr>
            <a:cxnSpLocks/>
          </p:cNvCxnSpPr>
          <p:nvPr>
            <p:custDataLst>
              <p:tags r:id="rId13"/>
            </p:custDataLst>
          </p:nvPr>
        </p:nvCxnSpPr>
        <p:spPr bwMode="auto">
          <a:xfrm>
            <a:off x="9237322" y="548264"/>
            <a:ext cx="0" cy="600283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6" name="Connecteur droit 55">
            <a:extLst>
              <a:ext uri="{FF2B5EF4-FFF2-40B4-BE49-F238E27FC236}">
                <a16:creationId xmlns:a16="http://schemas.microsoft.com/office/drawing/2014/main" id="{D528F59A-8614-2D41-4C49-2C5BBEFDA395}"/>
              </a:ext>
            </a:extLst>
          </p:cNvPr>
          <p:cNvCxnSpPr>
            <a:cxnSpLocks/>
          </p:cNvCxnSpPr>
          <p:nvPr>
            <p:custDataLst>
              <p:tags r:id="rId14"/>
            </p:custDataLst>
          </p:nvPr>
        </p:nvCxnSpPr>
        <p:spPr bwMode="auto">
          <a:xfrm>
            <a:off x="3234421" y="551340"/>
            <a:ext cx="5025" cy="5999754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7" name="Connecteur droit 116">
            <a:extLst>
              <a:ext uri="{FF2B5EF4-FFF2-40B4-BE49-F238E27FC236}">
                <a16:creationId xmlns:a16="http://schemas.microsoft.com/office/drawing/2014/main" id="{730B9D3B-62CD-B398-C4AD-AA1E24D9F395}"/>
              </a:ext>
            </a:extLst>
          </p:cNvPr>
          <p:cNvCxnSpPr>
            <a:cxnSpLocks/>
          </p:cNvCxnSpPr>
          <p:nvPr>
            <p:custDataLst>
              <p:tags r:id="rId15"/>
            </p:custDataLst>
          </p:nvPr>
        </p:nvCxnSpPr>
        <p:spPr bwMode="auto">
          <a:xfrm>
            <a:off x="5447379" y="551340"/>
            <a:ext cx="0" cy="597841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0" name="Connecteur droit 129">
            <a:extLst>
              <a:ext uri="{FF2B5EF4-FFF2-40B4-BE49-F238E27FC236}">
                <a16:creationId xmlns:a16="http://schemas.microsoft.com/office/drawing/2014/main" id="{43949331-77E2-BED8-15C5-5863DF17933D}"/>
              </a:ext>
            </a:extLst>
          </p:cNvPr>
          <p:cNvCxnSpPr>
            <a:cxnSpLocks/>
          </p:cNvCxnSpPr>
          <p:nvPr>
            <p:custDataLst>
              <p:tags r:id="rId16"/>
            </p:custDataLst>
          </p:nvPr>
        </p:nvCxnSpPr>
        <p:spPr bwMode="auto">
          <a:xfrm>
            <a:off x="7943125" y="541180"/>
            <a:ext cx="31505" cy="59885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Connecteur droit 42">
            <a:extLst>
              <a:ext uri="{FF2B5EF4-FFF2-40B4-BE49-F238E27FC236}">
                <a16:creationId xmlns:a16="http://schemas.microsoft.com/office/drawing/2014/main" id="{204759D7-F789-7C4D-AE4B-ACC542ABE2D3}"/>
              </a:ext>
            </a:extLst>
          </p:cNvPr>
          <p:cNvCxnSpPr>
            <a:cxnSpLocks/>
          </p:cNvCxnSpPr>
          <p:nvPr>
            <p:custDataLst>
              <p:tags r:id="rId17"/>
            </p:custDataLst>
          </p:nvPr>
        </p:nvCxnSpPr>
        <p:spPr bwMode="auto">
          <a:xfrm>
            <a:off x="4061307" y="543404"/>
            <a:ext cx="0" cy="600769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7" name="Connecteur droit 166">
            <a:extLst>
              <a:ext uri="{FF2B5EF4-FFF2-40B4-BE49-F238E27FC236}">
                <a16:creationId xmlns:a16="http://schemas.microsoft.com/office/drawing/2014/main" id="{3B388035-7983-5596-E330-E3C0962990F7}"/>
              </a:ext>
            </a:extLst>
          </p:cNvPr>
          <p:cNvCxnSpPr>
            <a:cxnSpLocks/>
          </p:cNvCxnSpPr>
          <p:nvPr>
            <p:custDataLst>
              <p:tags r:id="rId18"/>
            </p:custDataLst>
          </p:nvPr>
        </p:nvCxnSpPr>
        <p:spPr bwMode="auto">
          <a:xfrm>
            <a:off x="393700" y="1142209"/>
            <a:ext cx="10477052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6" name="Connecteur droit 165">
            <a:extLst>
              <a:ext uri="{FF2B5EF4-FFF2-40B4-BE49-F238E27FC236}">
                <a16:creationId xmlns:a16="http://schemas.microsoft.com/office/drawing/2014/main" id="{460074AE-8C07-E3CE-4746-D53039C21074}"/>
              </a:ext>
            </a:extLst>
          </p:cNvPr>
          <p:cNvCxnSpPr>
            <a:cxnSpLocks/>
          </p:cNvCxnSpPr>
          <p:nvPr>
            <p:custDataLst>
              <p:tags r:id="rId19"/>
            </p:custDataLst>
          </p:nvPr>
        </p:nvCxnSpPr>
        <p:spPr bwMode="auto">
          <a:xfrm>
            <a:off x="412749" y="1641954"/>
            <a:ext cx="1045800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1" name="Connecteur droit 170">
            <a:extLst>
              <a:ext uri="{FF2B5EF4-FFF2-40B4-BE49-F238E27FC236}">
                <a16:creationId xmlns:a16="http://schemas.microsoft.com/office/drawing/2014/main" id="{4DAD9F92-6994-8840-7248-917AEC13F022}"/>
              </a:ext>
            </a:extLst>
          </p:cNvPr>
          <p:cNvCxnSpPr>
            <a:cxnSpLocks/>
          </p:cNvCxnSpPr>
          <p:nvPr>
            <p:custDataLst>
              <p:tags r:id="rId20"/>
            </p:custDataLst>
          </p:nvPr>
        </p:nvCxnSpPr>
        <p:spPr bwMode="auto">
          <a:xfrm>
            <a:off x="403225" y="4920823"/>
            <a:ext cx="10458002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0" name="Connecteur droit 169">
            <a:extLst>
              <a:ext uri="{FF2B5EF4-FFF2-40B4-BE49-F238E27FC236}">
                <a16:creationId xmlns:a16="http://schemas.microsoft.com/office/drawing/2014/main" id="{84403291-B933-7470-91AF-DC00B7B88C57}"/>
              </a:ext>
            </a:extLst>
          </p:cNvPr>
          <p:cNvCxnSpPr>
            <a:cxnSpLocks/>
          </p:cNvCxnSpPr>
          <p:nvPr>
            <p:custDataLst>
              <p:tags r:id="rId21"/>
            </p:custDataLst>
          </p:nvPr>
        </p:nvCxnSpPr>
        <p:spPr bwMode="auto">
          <a:xfrm>
            <a:off x="412750" y="3730466"/>
            <a:ext cx="10458002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9" name="Connecteur droit 168">
            <a:extLst>
              <a:ext uri="{FF2B5EF4-FFF2-40B4-BE49-F238E27FC236}">
                <a16:creationId xmlns:a16="http://schemas.microsoft.com/office/drawing/2014/main" id="{D4B81550-EC4B-E957-6991-2DB2A2C03362}"/>
              </a:ext>
            </a:extLst>
          </p:cNvPr>
          <p:cNvCxnSpPr>
            <a:cxnSpLocks/>
          </p:cNvCxnSpPr>
          <p:nvPr>
            <p:custDataLst>
              <p:tags r:id="rId22"/>
            </p:custDataLst>
          </p:nvPr>
        </p:nvCxnSpPr>
        <p:spPr bwMode="auto">
          <a:xfrm>
            <a:off x="393700" y="2242981"/>
            <a:ext cx="10477052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0" name="Connecteur droit 59">
            <a:extLst>
              <a:ext uri="{FF2B5EF4-FFF2-40B4-BE49-F238E27FC236}">
                <a16:creationId xmlns:a16="http://schemas.microsoft.com/office/drawing/2014/main" id="{C7A4D132-1B42-E8E7-E2F1-F25BB7329B53}"/>
              </a:ext>
            </a:extLst>
          </p:cNvPr>
          <p:cNvCxnSpPr>
            <a:cxnSpLocks/>
          </p:cNvCxnSpPr>
          <p:nvPr>
            <p:custDataLst>
              <p:tags r:id="rId23"/>
            </p:custDataLst>
          </p:nvPr>
        </p:nvCxnSpPr>
        <p:spPr bwMode="auto">
          <a:xfrm>
            <a:off x="412749" y="6540424"/>
            <a:ext cx="1045800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9" name="Connecteur droit 328">
            <a:extLst>
              <a:ext uri="{FF2B5EF4-FFF2-40B4-BE49-F238E27FC236}">
                <a16:creationId xmlns:a16="http://schemas.microsoft.com/office/drawing/2014/main" id="{4EC53553-D136-41E2-5805-636E495476A6}"/>
              </a:ext>
            </a:extLst>
          </p:cNvPr>
          <p:cNvCxnSpPr>
            <a:cxnSpLocks/>
            <a:endCxn id="328" idx="0"/>
          </p:cNvCxnSpPr>
          <p:nvPr>
            <p:custDataLst>
              <p:tags r:id="rId24"/>
            </p:custDataLst>
          </p:nvPr>
        </p:nvCxnSpPr>
        <p:spPr bwMode="gray">
          <a:xfrm>
            <a:off x="6453871" y="531497"/>
            <a:ext cx="294" cy="6089037"/>
          </a:xfrm>
          <a:prstGeom prst="line">
            <a:avLst/>
          </a:prstGeom>
          <a:ln w="19050" cap="flat" cmpd="sng" algn="ctr">
            <a:solidFill>
              <a:srgbClr val="E93316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9" name="Connecteur droit 58">
            <a:extLst>
              <a:ext uri="{FF2B5EF4-FFF2-40B4-BE49-F238E27FC236}">
                <a16:creationId xmlns:a16="http://schemas.microsoft.com/office/drawing/2014/main" id="{7667CCE2-012D-5877-DEE7-325A40844D4A}"/>
              </a:ext>
            </a:extLst>
          </p:cNvPr>
          <p:cNvCxnSpPr>
            <a:cxnSpLocks/>
          </p:cNvCxnSpPr>
          <p:nvPr>
            <p:custDataLst>
              <p:tags r:id="rId25"/>
            </p:custDataLst>
          </p:nvPr>
        </p:nvCxnSpPr>
        <p:spPr bwMode="auto">
          <a:xfrm flipV="1">
            <a:off x="642947" y="540229"/>
            <a:ext cx="10458003" cy="11112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59" name="Rectangle 258">
            <a:extLst>
              <a:ext uri="{FF2B5EF4-FFF2-40B4-BE49-F238E27FC236}">
                <a16:creationId xmlns:a16="http://schemas.microsoft.com/office/drawing/2014/main" id="{0DC9CB4B-7634-6AAB-94C8-EBFEAE8C44F0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7026958" y="5112229"/>
            <a:ext cx="1435100" cy="98425"/>
          </a:xfrm>
          <a:prstGeom prst="rect">
            <a:avLst/>
          </a:prstGeom>
          <a:solidFill>
            <a:srgbClr val="9DB1CF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58" name="Rectangle 257">
            <a:extLst>
              <a:ext uri="{FF2B5EF4-FFF2-40B4-BE49-F238E27FC236}">
                <a16:creationId xmlns:a16="http://schemas.microsoft.com/office/drawing/2014/main" id="{8A5DAC79-824E-0B2C-2CF3-1B9F8F030C09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5347007" y="2341202"/>
            <a:ext cx="888066" cy="92482"/>
          </a:xfrm>
          <a:prstGeom prst="rect">
            <a:avLst/>
          </a:prstGeom>
          <a:solidFill>
            <a:schemeClr val="accent6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62" name="Rectangle 161">
            <a:extLst>
              <a:ext uri="{FF2B5EF4-FFF2-40B4-BE49-F238E27FC236}">
                <a16:creationId xmlns:a16="http://schemas.microsoft.com/office/drawing/2014/main" id="{B7E39895-A4D2-4585-F8B6-79FBEFE3C998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4105307" y="1227419"/>
            <a:ext cx="626128" cy="103223"/>
          </a:xfrm>
          <a:prstGeom prst="rect">
            <a:avLst/>
          </a:prstGeom>
          <a:solidFill>
            <a:srgbClr val="C0C0C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52" name="Rectangle 251">
            <a:extLst>
              <a:ext uri="{FF2B5EF4-FFF2-40B4-BE49-F238E27FC236}">
                <a16:creationId xmlns:a16="http://schemas.microsoft.com/office/drawing/2014/main" id="{2890A7D2-351F-31D1-061D-DAD52C835A98}"/>
              </a:ext>
            </a:extLst>
          </p:cNvPr>
          <p:cNvSpPr/>
          <p:nvPr>
            <p:custDataLst>
              <p:tags r:id="rId29"/>
            </p:custDataLst>
          </p:nvPr>
        </p:nvSpPr>
        <p:spPr bwMode="auto">
          <a:xfrm>
            <a:off x="5161646" y="4461354"/>
            <a:ext cx="3157538" cy="98425"/>
          </a:xfrm>
          <a:prstGeom prst="rect">
            <a:avLst/>
          </a:prstGeom>
          <a:solidFill>
            <a:srgbClr val="815AAB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51" name="Rectangle 250">
            <a:extLst>
              <a:ext uri="{FF2B5EF4-FFF2-40B4-BE49-F238E27FC236}">
                <a16:creationId xmlns:a16="http://schemas.microsoft.com/office/drawing/2014/main" id="{03212AE0-CBD3-69E4-D004-2C958ABB3949}"/>
              </a:ext>
            </a:extLst>
          </p:cNvPr>
          <p:cNvSpPr/>
          <p:nvPr>
            <p:custDataLst>
              <p:tags r:id="rId30"/>
            </p:custDataLst>
          </p:nvPr>
        </p:nvSpPr>
        <p:spPr bwMode="auto">
          <a:xfrm>
            <a:off x="4301222" y="4264504"/>
            <a:ext cx="860425" cy="98425"/>
          </a:xfrm>
          <a:prstGeom prst="rect">
            <a:avLst/>
          </a:prstGeom>
          <a:solidFill>
            <a:srgbClr val="815AAB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50" name="Rectangle 249">
            <a:extLst>
              <a:ext uri="{FF2B5EF4-FFF2-40B4-BE49-F238E27FC236}">
                <a16:creationId xmlns:a16="http://schemas.microsoft.com/office/drawing/2014/main" id="{6E2BDD9C-9A65-DED2-0E59-B06D94605D54}"/>
              </a:ext>
            </a:extLst>
          </p:cNvPr>
          <p:cNvSpPr/>
          <p:nvPr>
            <p:custDataLst>
              <p:tags r:id="rId31"/>
            </p:custDataLst>
          </p:nvPr>
        </p:nvSpPr>
        <p:spPr bwMode="auto">
          <a:xfrm>
            <a:off x="3296333" y="4067654"/>
            <a:ext cx="1004888" cy="98425"/>
          </a:xfrm>
          <a:prstGeom prst="rect">
            <a:avLst/>
          </a:prstGeom>
          <a:solidFill>
            <a:srgbClr val="815AAB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41" name="Rectangle 240">
            <a:extLst>
              <a:ext uri="{FF2B5EF4-FFF2-40B4-BE49-F238E27FC236}">
                <a16:creationId xmlns:a16="http://schemas.microsoft.com/office/drawing/2014/main" id="{E65AFAEF-80A4-4E19-4C36-392BCBF4BAAA}"/>
              </a:ext>
            </a:extLst>
          </p:cNvPr>
          <p:cNvSpPr/>
          <p:nvPr>
            <p:custDataLst>
              <p:tags r:id="rId32"/>
            </p:custDataLst>
          </p:nvPr>
        </p:nvSpPr>
        <p:spPr bwMode="auto">
          <a:xfrm>
            <a:off x="7171421" y="3840641"/>
            <a:ext cx="717550" cy="98425"/>
          </a:xfrm>
          <a:prstGeom prst="rect">
            <a:avLst/>
          </a:prstGeom>
          <a:solidFill>
            <a:srgbClr val="815AAB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40" name="Rectangle 239">
            <a:extLst>
              <a:ext uri="{FF2B5EF4-FFF2-40B4-BE49-F238E27FC236}">
                <a16:creationId xmlns:a16="http://schemas.microsoft.com/office/drawing/2014/main" id="{79740834-A3DD-D10A-1E92-BEAA564386D1}"/>
              </a:ext>
            </a:extLst>
          </p:cNvPr>
          <p:cNvSpPr/>
          <p:nvPr>
            <p:custDataLst>
              <p:tags r:id="rId33"/>
            </p:custDataLst>
          </p:nvPr>
        </p:nvSpPr>
        <p:spPr bwMode="auto">
          <a:xfrm>
            <a:off x="5056231" y="2944636"/>
            <a:ext cx="1406894" cy="90965"/>
          </a:xfrm>
          <a:prstGeom prst="rect">
            <a:avLst/>
          </a:prstGeom>
          <a:solidFill>
            <a:srgbClr val="B763BB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53" name="Rectangle 252">
            <a:extLst>
              <a:ext uri="{FF2B5EF4-FFF2-40B4-BE49-F238E27FC236}">
                <a16:creationId xmlns:a16="http://schemas.microsoft.com/office/drawing/2014/main" id="{052C0B70-CF97-B7DC-C5CA-AB7D922C7FA3}"/>
              </a:ext>
            </a:extLst>
          </p:cNvPr>
          <p:cNvSpPr/>
          <p:nvPr>
            <p:custDataLst>
              <p:tags r:id="rId34"/>
            </p:custDataLst>
          </p:nvPr>
        </p:nvSpPr>
        <p:spPr bwMode="auto">
          <a:xfrm>
            <a:off x="5591859" y="4658204"/>
            <a:ext cx="2727325" cy="98425"/>
          </a:xfrm>
          <a:prstGeom prst="rect">
            <a:avLst/>
          </a:prstGeom>
          <a:solidFill>
            <a:srgbClr val="815AAB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60" name="Rectangle 259">
            <a:extLst>
              <a:ext uri="{FF2B5EF4-FFF2-40B4-BE49-F238E27FC236}">
                <a16:creationId xmlns:a16="http://schemas.microsoft.com/office/drawing/2014/main" id="{F60E8C39-962A-BF43-0944-197BA0029A9F}"/>
              </a:ext>
            </a:extLst>
          </p:cNvPr>
          <p:cNvSpPr/>
          <p:nvPr>
            <p:custDataLst>
              <p:tags r:id="rId35"/>
            </p:custDataLst>
          </p:nvPr>
        </p:nvSpPr>
        <p:spPr bwMode="auto">
          <a:xfrm>
            <a:off x="8462058" y="5493230"/>
            <a:ext cx="2009775" cy="98425"/>
          </a:xfrm>
          <a:prstGeom prst="rect">
            <a:avLst/>
          </a:prstGeom>
          <a:solidFill>
            <a:srgbClr val="9DB1CF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28" name="Losange 327">
            <a:extLst>
              <a:ext uri="{FF2B5EF4-FFF2-40B4-BE49-F238E27FC236}">
                <a16:creationId xmlns:a16="http://schemas.microsoft.com/office/drawing/2014/main" id="{817783AA-CDC1-8311-6C57-FD6D359C85A9}"/>
              </a:ext>
            </a:extLst>
          </p:cNvPr>
          <p:cNvSpPr/>
          <p:nvPr>
            <p:custDataLst>
              <p:tags r:id="rId36"/>
            </p:custDataLst>
          </p:nvPr>
        </p:nvSpPr>
        <p:spPr bwMode="gray">
          <a:xfrm>
            <a:off x="6397015" y="6620534"/>
            <a:ext cx="114300" cy="114300"/>
          </a:xfrm>
          <a:prstGeom prst="diamond">
            <a:avLst/>
          </a:prstGeom>
          <a:solidFill>
            <a:srgbClr val="E93316"/>
          </a:solidFill>
          <a:ln w="9525" cap="flat" cmpd="sng" algn="ctr">
            <a:solidFill>
              <a:srgbClr val="E9331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4" name="Espace réservé du texte 2">
            <a:extLst>
              <a:ext uri="{FF2B5EF4-FFF2-40B4-BE49-F238E27FC236}">
                <a16:creationId xmlns:a16="http://schemas.microsoft.com/office/drawing/2014/main" id="{8B6E16B3-9461-DE97-F79A-98811B3AB52C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484187" y="2915446"/>
            <a:ext cx="2065338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900" dirty="0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Débuter le software avec une carte de test (Nucléo)</a:t>
            </a:r>
          </a:p>
        </p:txBody>
      </p:sp>
      <p:sp>
        <p:nvSpPr>
          <p:cNvPr id="72" name="Espace réservé du texte 2">
            <a:extLst>
              <a:ext uri="{FF2B5EF4-FFF2-40B4-BE49-F238E27FC236}">
                <a16:creationId xmlns:a16="http://schemas.microsoft.com/office/drawing/2014/main" id="{BCB394F4-6555-02CA-D485-6B4EEABC6BDD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484187" y="2698276"/>
            <a:ext cx="93345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altLang="en-US" sz="900" dirty="0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KICAD de la carte d’acquisition</a:t>
            </a:r>
            <a:endParaRPr lang="fr-FR" sz="900" dirty="0">
              <a:latin typeface="Avenir LT Std 55 Roman" panose="020B0503020203020204" pitchFamily="34" charset="0"/>
              <a:sym typeface="Avenir LT Std 55 Roman" panose="020B0503020203020204" pitchFamily="34" charset="0"/>
            </a:endParaRPr>
          </a:p>
        </p:txBody>
      </p:sp>
      <p:sp>
        <p:nvSpPr>
          <p:cNvPr id="70" name="Espace réservé du texte 2">
            <a:extLst>
              <a:ext uri="{FF2B5EF4-FFF2-40B4-BE49-F238E27FC236}">
                <a16:creationId xmlns:a16="http://schemas.microsoft.com/office/drawing/2014/main" id="{B6446369-64A2-7AF5-8453-9F81CD0C1666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484188" y="2501426"/>
            <a:ext cx="123825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altLang="en-US" sz="900" dirty="0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KICAD de la carte de traitement</a:t>
            </a:r>
            <a:endParaRPr lang="fr-FR" sz="900" dirty="0">
              <a:latin typeface="Avenir LT Std 55 Roman" panose="020B0503020203020204" pitchFamily="34" charset="0"/>
              <a:sym typeface="Avenir LT Std 55 Roman" panose="020B0503020203020204" pitchFamily="34" charset="0"/>
            </a:endParaRPr>
          </a:p>
        </p:txBody>
      </p:sp>
      <p:sp>
        <p:nvSpPr>
          <p:cNvPr id="68" name="Espace réservé du texte 2">
            <a:extLst>
              <a:ext uri="{FF2B5EF4-FFF2-40B4-BE49-F238E27FC236}">
                <a16:creationId xmlns:a16="http://schemas.microsoft.com/office/drawing/2014/main" id="{4E04DC25-27B8-A4C9-348F-7B397A675F79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484188" y="2304576"/>
            <a:ext cx="1817688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altLang="en-US" sz="900" dirty="0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Choix des composants - Nomenclatures</a:t>
            </a:r>
            <a:endParaRPr lang="fr-FR" sz="900" dirty="0">
              <a:latin typeface="Avenir LT Std 55 Roman" panose="020B0503020203020204" pitchFamily="34" charset="0"/>
              <a:sym typeface="Avenir LT Std 55 Roman" panose="020B0503020203020204" pitchFamily="34" charset="0"/>
            </a:endParaRPr>
          </a:p>
        </p:txBody>
      </p:sp>
      <p:sp>
        <p:nvSpPr>
          <p:cNvPr id="9" name="Espace réservé du texte 2">
            <a:extLst>
              <a:ext uri="{FF2B5EF4-FFF2-40B4-BE49-F238E27FC236}">
                <a16:creationId xmlns:a16="http://schemas.microsoft.com/office/drawing/2014/main" id="{3D12FD54-CB13-B513-B33E-F26AC58C3686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484188" y="341791"/>
            <a:ext cx="6556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BCF492E2-B76B-47E7-B987-2AE4B1877D53}" type="datetime'''''Ac''''''ti''''''''''''''''vi''''''''t''''''''''''''é'''">
              <a:rPr lang="fr-FR" altLang="en-US" sz="1400" b="1" smtClean="0">
                <a:effectLst/>
                <a:latin typeface="Avenir LT Std 65 Medium" panose="020B0803020203020204" pitchFamily="34" charset="0"/>
                <a:sym typeface="Avenir LT Std 55 Roman" panose="020B0503020203020204" pitchFamily="34" charset="0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Activité</a:t>
            </a:fld>
            <a:endParaRPr lang="fr-FR" sz="1400" b="1" dirty="0">
              <a:latin typeface="Avenir LT Std 65 Medium" panose="020B0803020203020204" pitchFamily="34" charset="0"/>
              <a:sym typeface="Avenir LT Std 55 Roman" panose="020B0503020203020204" pitchFamily="34" charset="0"/>
            </a:endParaRPr>
          </a:p>
        </p:txBody>
      </p:sp>
      <p:sp>
        <p:nvSpPr>
          <p:cNvPr id="108" name="Espace réservé du texte 2">
            <a:extLst>
              <a:ext uri="{FF2B5EF4-FFF2-40B4-BE49-F238E27FC236}">
                <a16:creationId xmlns:a16="http://schemas.microsoft.com/office/drawing/2014/main" id="{3D12FD54-CB13-B513-B33E-F26AC58C3686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9351844" y="268966"/>
            <a:ext cx="1046650" cy="187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F4A73F0B-47B7-4E2A-BD6E-9CD3FB22D9F6}" type="datetime'R''e''''s''''po''''''''''n''''''sa''b''''''''l''e'''''''''''">
              <a:rPr lang="fr-FR" altLang="en-US" sz="1200" b="1" smtClean="0">
                <a:effectLst/>
                <a:latin typeface="Avenir LT Std 65 Medium" panose="020B0803020203020204" pitchFamily="34" charset="0"/>
                <a:sym typeface="Avenir LT Std 55 Roman" panose="020B0503020203020204" pitchFamily="34" charset="0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Responsable</a:t>
            </a:fld>
            <a:r>
              <a:rPr lang="fr-FR" altLang="en-US" sz="1200" b="1" dirty="0">
                <a:effectLst/>
                <a:latin typeface="Avenir LT Std 65 Medium" panose="020B0803020203020204" pitchFamily="34" charset="0"/>
                <a:sym typeface="Avenir LT Std 55 Roman" panose="020B0503020203020204" pitchFamily="34" charset="0"/>
              </a:rPr>
              <a:t>s</a:t>
            </a:r>
            <a:endParaRPr lang="fr-FR" sz="1200" b="1" dirty="0">
              <a:latin typeface="Avenir LT Std 65 Medium" panose="020B0803020203020204" pitchFamily="34" charset="0"/>
              <a:sym typeface="Avenir LT Std 55 Roman" panose="020B0503020203020204" pitchFamily="34" charset="0"/>
            </a:endParaRPr>
          </a:p>
        </p:txBody>
      </p:sp>
      <p:sp>
        <p:nvSpPr>
          <p:cNvPr id="66" name="Espace réservé du texte 2">
            <a:extLst>
              <a:ext uri="{FF2B5EF4-FFF2-40B4-BE49-F238E27FC236}">
                <a16:creationId xmlns:a16="http://schemas.microsoft.com/office/drawing/2014/main" id="{C216283F-FB32-7C3E-E515-EB4EFF82623D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484187" y="2056926"/>
            <a:ext cx="1811338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altLang="en-US" sz="900" dirty="0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Réalisation du schéma de niveau 3 (bas niveau)</a:t>
            </a:r>
            <a:endParaRPr lang="fr-FR" sz="900" dirty="0">
              <a:latin typeface="Avenir LT Std 55 Roman" panose="020B0503020203020204" pitchFamily="34" charset="0"/>
              <a:sym typeface="Avenir LT Std 55 Roman" panose="020B0503020203020204" pitchFamily="34" charset="0"/>
            </a:endParaRPr>
          </a:p>
        </p:txBody>
      </p:sp>
      <p:sp>
        <p:nvSpPr>
          <p:cNvPr id="7" name="Espace réservé du texte 2">
            <a:extLst>
              <a:ext uri="{FF2B5EF4-FFF2-40B4-BE49-F238E27FC236}">
                <a16:creationId xmlns:a16="http://schemas.microsoft.com/office/drawing/2014/main" id="{3D12FD54-CB13-B513-B33E-F26AC58C3686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484188" y="1880714"/>
            <a:ext cx="987425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altLang="en-US" sz="900" dirty="0">
                <a:effectLst/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Réalisation du schéma de niveau 2 (moyen niveau)</a:t>
            </a:r>
            <a:endParaRPr lang="fr-FR" sz="900" dirty="0">
              <a:latin typeface="Avenir LT Std 55 Roman" panose="020B0503020203020204" pitchFamily="34" charset="0"/>
              <a:sym typeface="Avenir LT Std 55 Roman" panose="020B0503020203020204" pitchFamily="34" charset="0"/>
            </a:endParaRPr>
          </a:p>
        </p:txBody>
      </p:sp>
      <p:sp>
        <p:nvSpPr>
          <p:cNvPr id="4" name="Espace réservé du texte 2">
            <a:extLst>
              <a:ext uri="{FF2B5EF4-FFF2-40B4-BE49-F238E27FC236}">
                <a16:creationId xmlns:a16="http://schemas.microsoft.com/office/drawing/2014/main" id="{3D12FD54-CB13-B513-B33E-F26AC58C3686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484188" y="792324"/>
            <a:ext cx="1582738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altLang="en-US" sz="900" dirty="0">
                <a:effectLst/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Validation du projet</a:t>
            </a:r>
            <a:endParaRPr lang="fr-FR" sz="900" dirty="0">
              <a:latin typeface="Avenir LT Std 55 Roman" panose="020B0503020203020204" pitchFamily="34" charset="0"/>
              <a:sym typeface="Avenir LT Std 55 Roman" panose="020B0503020203020204" pitchFamily="34" charset="0"/>
            </a:endParaRPr>
          </a:p>
        </p:txBody>
      </p:sp>
      <p:sp>
        <p:nvSpPr>
          <p:cNvPr id="78" name="Espace réservé du texte 2">
            <a:extLst>
              <a:ext uri="{FF2B5EF4-FFF2-40B4-BE49-F238E27FC236}">
                <a16:creationId xmlns:a16="http://schemas.microsoft.com/office/drawing/2014/main" id="{6589643A-DB27-31F3-8CFD-A63C2C84115B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504508" y="3768386"/>
            <a:ext cx="1038225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altLang="en-US" sz="900" dirty="0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Réception des composants</a:t>
            </a:r>
            <a:endParaRPr lang="fr-FR" sz="900" dirty="0">
              <a:latin typeface="Avenir LT Std 55 Roman" panose="020B0503020203020204" pitchFamily="34" charset="0"/>
              <a:sym typeface="Avenir LT Std 55 Roman" panose="020B0503020203020204" pitchFamily="34" charset="0"/>
            </a:endParaRPr>
          </a:p>
        </p:txBody>
      </p:sp>
      <p:sp>
        <p:nvSpPr>
          <p:cNvPr id="76" name="Espace réservé du texte 2">
            <a:extLst>
              <a:ext uri="{FF2B5EF4-FFF2-40B4-BE49-F238E27FC236}">
                <a16:creationId xmlns:a16="http://schemas.microsoft.com/office/drawing/2014/main" id="{3086D391-35A6-F99D-B1B8-4517CD29DDD9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484538" y="3335528"/>
            <a:ext cx="1138238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altLang="en-US" sz="900" dirty="0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Commande des composants (PCB avec GERBER)</a:t>
            </a:r>
            <a:endParaRPr lang="fr-FR" sz="900" dirty="0">
              <a:latin typeface="Avenir LT Std 55 Roman" panose="020B0503020203020204" pitchFamily="34" charset="0"/>
              <a:sym typeface="Avenir LT Std 55 Roman" panose="020B0503020203020204" pitchFamily="34" charset="0"/>
            </a:endParaRPr>
          </a:p>
        </p:txBody>
      </p:sp>
      <p:sp>
        <p:nvSpPr>
          <p:cNvPr id="80" name="Espace réservé du texte 2">
            <a:extLst>
              <a:ext uri="{FF2B5EF4-FFF2-40B4-BE49-F238E27FC236}">
                <a16:creationId xmlns:a16="http://schemas.microsoft.com/office/drawing/2014/main" id="{89B2A66C-7AC5-291D-463C-3696ECF458FA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504508" y="3965236"/>
            <a:ext cx="1693863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altLang="en-US" sz="900" dirty="0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Soudures des composants sur PCB</a:t>
            </a:r>
            <a:endParaRPr lang="fr-FR" sz="900" dirty="0">
              <a:latin typeface="Avenir LT Std 55 Roman" panose="020B0503020203020204" pitchFamily="34" charset="0"/>
              <a:sym typeface="Avenir LT Std 55 Roman" panose="020B0503020203020204" pitchFamily="34" charset="0"/>
            </a:endParaRPr>
          </a:p>
        </p:txBody>
      </p:sp>
      <p:sp>
        <p:nvSpPr>
          <p:cNvPr id="6" name="Espace réservé du texte 2">
            <a:extLst>
              <a:ext uri="{FF2B5EF4-FFF2-40B4-BE49-F238E27FC236}">
                <a16:creationId xmlns:a16="http://schemas.microsoft.com/office/drawing/2014/main" id="{3D12FD54-CB13-B513-B33E-F26AC58C3686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484188" y="1683864"/>
            <a:ext cx="1014413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altLang="en-US" sz="900" dirty="0">
                <a:effectLst/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Réalisation du schéma de niveau 1 (haut niveau)</a:t>
            </a:r>
            <a:endParaRPr lang="fr-FR" sz="900" dirty="0">
              <a:latin typeface="Avenir LT Std 55 Roman" panose="020B0503020203020204" pitchFamily="34" charset="0"/>
              <a:sym typeface="Avenir LT Std 55 Roman" panose="020B0503020203020204" pitchFamily="34" charset="0"/>
            </a:endParaRPr>
          </a:p>
        </p:txBody>
      </p:sp>
      <p:sp>
        <p:nvSpPr>
          <p:cNvPr id="5" name="Espace réservé du texte 2">
            <a:extLst>
              <a:ext uri="{FF2B5EF4-FFF2-40B4-BE49-F238E27FC236}">
                <a16:creationId xmlns:a16="http://schemas.microsoft.com/office/drawing/2014/main" id="{3D12FD54-CB13-B513-B33E-F26AC58C3686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483453" y="1446374"/>
            <a:ext cx="400889" cy="1078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altLang="en-US" sz="900" dirty="0">
                <a:effectLst/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Rédaction du cahier des charges</a:t>
            </a:r>
            <a:endParaRPr lang="fr-FR" sz="900" dirty="0">
              <a:latin typeface="Avenir LT Std 55 Roman" panose="020B0503020203020204" pitchFamily="34" charset="0"/>
              <a:sym typeface="Avenir LT Std 55 Roman" panose="020B0503020203020204" pitchFamily="34" charset="0"/>
            </a:endParaRPr>
          </a:p>
        </p:txBody>
      </p:sp>
      <p:sp>
        <p:nvSpPr>
          <p:cNvPr id="326" name="Espace réservé du texte 2">
            <a:extLst>
              <a:ext uri="{FF2B5EF4-FFF2-40B4-BE49-F238E27FC236}">
                <a16:creationId xmlns:a16="http://schemas.microsoft.com/office/drawing/2014/main" id="{33876404-90A5-ECC3-0A53-ED0FAA820F70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9329629" y="595791"/>
            <a:ext cx="3603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1000" dirty="0" err="1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Jingwen</a:t>
            </a:r>
            <a:r>
              <a:rPr lang="fr-FR" sz="1000" dirty="0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/Hicham/Julien/Anas</a:t>
            </a:r>
          </a:p>
        </p:txBody>
      </p:sp>
      <p:sp>
        <p:nvSpPr>
          <p:cNvPr id="330" name="Espace réservé du texte 2">
            <a:extLst>
              <a:ext uri="{FF2B5EF4-FFF2-40B4-BE49-F238E27FC236}">
                <a16:creationId xmlns:a16="http://schemas.microsoft.com/office/drawing/2014/main" id="{3D12FD54-CB13-B513-B33E-F26AC58C3686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5690658" y="6631291"/>
            <a:ext cx="7016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1000" dirty="0">
                <a:latin typeface="Avenir LT Std 65 Medium" panose="020B0803020203020204" pitchFamily="34" charset="0"/>
                <a:sym typeface="Avenir LT Std 65 Medium" panose="020B0803020203020204" pitchFamily="34" charset="0"/>
              </a:rPr>
              <a:t>22/04/2024</a:t>
            </a:r>
          </a:p>
        </p:txBody>
      </p:sp>
      <p:sp>
        <p:nvSpPr>
          <p:cNvPr id="280" name="Espace réservé du texte 2">
            <a:extLst>
              <a:ext uri="{FF2B5EF4-FFF2-40B4-BE49-F238E27FC236}">
                <a16:creationId xmlns:a16="http://schemas.microsoft.com/office/drawing/2014/main" id="{ACAD9411-5B39-9AB9-01BD-4A00C98EF302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9099431" y="822804"/>
            <a:ext cx="1619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endParaRPr lang="fr-FR" sz="1000" dirty="0">
              <a:latin typeface="Avenir LT Std 55 Roman" panose="020B0503020203020204" pitchFamily="34" charset="0"/>
              <a:sym typeface="Avenir LT Std 55 Roman" panose="020B0503020203020204" pitchFamily="34" charset="0"/>
            </a:endParaRPr>
          </a:p>
        </p:txBody>
      </p:sp>
      <p:sp>
        <p:nvSpPr>
          <p:cNvPr id="2" name="Espace réservé du texte 2">
            <a:extLst>
              <a:ext uri="{FF2B5EF4-FFF2-40B4-BE49-F238E27FC236}">
                <a16:creationId xmlns:a16="http://schemas.microsoft.com/office/drawing/2014/main" id="{3D12FD54-CB13-B513-B33E-F26AC58C3686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484188" y="595791"/>
            <a:ext cx="1122363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900" dirty="0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Choix du projet</a:t>
            </a:r>
          </a:p>
        </p:txBody>
      </p:sp>
      <p:sp>
        <p:nvSpPr>
          <p:cNvPr id="8" name="Espace réservé du texte 2">
            <a:extLst>
              <a:ext uri="{FF2B5EF4-FFF2-40B4-BE49-F238E27FC236}">
                <a16:creationId xmlns:a16="http://schemas.microsoft.com/office/drawing/2014/main" id="{3D12FD54-CB13-B513-B33E-F26AC58C3686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484180" y="3523033"/>
            <a:ext cx="1577975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pt-BR" altLang="en-US" sz="900" dirty="0" err="1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Commande</a:t>
            </a:r>
            <a:r>
              <a:rPr lang="pt-BR" altLang="en-US" sz="900" dirty="0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 </a:t>
            </a:r>
            <a:r>
              <a:rPr lang="pt-BR" altLang="en-US" sz="900" dirty="0" err="1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des</a:t>
            </a:r>
            <a:r>
              <a:rPr lang="pt-BR" altLang="en-US" sz="900" dirty="0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 </a:t>
            </a:r>
            <a:r>
              <a:rPr lang="pt-BR" altLang="en-US" sz="900" dirty="0" err="1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composants</a:t>
            </a:r>
            <a:r>
              <a:rPr lang="pt-BR" altLang="en-US" sz="900" dirty="0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 (</a:t>
            </a:r>
            <a:r>
              <a:rPr lang="pt-BR" altLang="en-US" sz="900" dirty="0" err="1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hors</a:t>
            </a:r>
            <a:r>
              <a:rPr lang="pt-BR" altLang="en-US" sz="900" dirty="0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 PCB)</a:t>
            </a:r>
            <a:endParaRPr lang="fr-FR" sz="900" dirty="0">
              <a:latin typeface="Avenir LT Std 55 Roman" panose="020B0503020203020204" pitchFamily="34" charset="0"/>
              <a:sym typeface="Avenir LT Std 55 Roman" panose="020B0503020203020204" pitchFamily="34" charset="0"/>
            </a:endParaRPr>
          </a:p>
        </p:txBody>
      </p:sp>
      <p:cxnSp>
        <p:nvCxnSpPr>
          <p:cNvPr id="248" name="Connecteur droit 247">
            <a:extLst>
              <a:ext uri="{FF2B5EF4-FFF2-40B4-BE49-F238E27FC236}">
                <a16:creationId xmlns:a16="http://schemas.microsoft.com/office/drawing/2014/main" id="{63A74369-3931-8932-555F-EFF5D114C9CD}"/>
              </a:ext>
            </a:extLst>
          </p:cNvPr>
          <p:cNvCxnSpPr/>
          <p:nvPr>
            <p:custDataLst>
              <p:tags r:id="rId56"/>
            </p:custDataLst>
          </p:nvPr>
        </p:nvCxnSpPr>
        <p:spPr bwMode="auto">
          <a:xfrm>
            <a:off x="7171421" y="3693004"/>
            <a:ext cx="0" cy="1968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Connecteur droit 14">
            <a:extLst>
              <a:ext uri="{FF2B5EF4-FFF2-40B4-BE49-F238E27FC236}">
                <a16:creationId xmlns:a16="http://schemas.microsoft.com/office/drawing/2014/main" id="{14BA5981-1A84-5CB9-CE75-5A7EF978C90C}"/>
              </a:ext>
            </a:extLst>
          </p:cNvPr>
          <p:cNvCxnSpPr>
            <a:cxnSpLocks/>
          </p:cNvCxnSpPr>
          <p:nvPr>
            <p:custDataLst>
              <p:tags r:id="rId57"/>
            </p:custDataLst>
          </p:nvPr>
        </p:nvCxnSpPr>
        <p:spPr bwMode="auto">
          <a:xfrm>
            <a:off x="418154" y="2823567"/>
            <a:ext cx="1045800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4" name="Espace réservé du texte 2">
            <a:extLst>
              <a:ext uri="{FF2B5EF4-FFF2-40B4-BE49-F238E27FC236}">
                <a16:creationId xmlns:a16="http://schemas.microsoft.com/office/drawing/2014/main" id="{DBF1C179-A408-43D1-506C-77715C0EBB5B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494347" y="4173514"/>
            <a:ext cx="2065338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900" dirty="0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Développement software phase 1 (Tension)</a:t>
            </a:r>
          </a:p>
        </p:txBody>
      </p:sp>
      <p:sp>
        <p:nvSpPr>
          <p:cNvPr id="25" name="Espace réservé du texte 2">
            <a:extLst>
              <a:ext uri="{FF2B5EF4-FFF2-40B4-BE49-F238E27FC236}">
                <a16:creationId xmlns:a16="http://schemas.microsoft.com/office/drawing/2014/main" id="{1A2AB9F7-FFC4-312A-F894-BDAB29878FD5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483889" y="4376080"/>
            <a:ext cx="2065338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900" dirty="0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Développement software phase 2 (Courants)</a:t>
            </a:r>
          </a:p>
        </p:txBody>
      </p:sp>
      <p:sp>
        <p:nvSpPr>
          <p:cNvPr id="26" name="Espace réservé du texte 2">
            <a:extLst>
              <a:ext uri="{FF2B5EF4-FFF2-40B4-BE49-F238E27FC236}">
                <a16:creationId xmlns:a16="http://schemas.microsoft.com/office/drawing/2014/main" id="{0720B152-8EDC-A523-7152-3466A0D14237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auto">
          <a:xfrm>
            <a:off x="474028" y="4742863"/>
            <a:ext cx="2065338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900" dirty="0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Développement software phase 4 (Harmoniques)</a:t>
            </a:r>
          </a:p>
        </p:txBody>
      </p:sp>
      <p:sp>
        <p:nvSpPr>
          <p:cNvPr id="27" name="Espace réservé du texte 2">
            <a:extLst>
              <a:ext uri="{FF2B5EF4-FFF2-40B4-BE49-F238E27FC236}">
                <a16:creationId xmlns:a16="http://schemas.microsoft.com/office/drawing/2014/main" id="{5B4608C0-FA5D-122C-B28F-5C0D8E4D8F7C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auto">
          <a:xfrm>
            <a:off x="493385" y="975522"/>
            <a:ext cx="1582738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altLang="en-US" sz="900" dirty="0">
                <a:effectLst/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Initialisation du GITHUB</a:t>
            </a:r>
            <a:endParaRPr lang="fr-FR" sz="900" dirty="0">
              <a:latin typeface="Avenir LT Std 55 Roman" panose="020B0503020203020204" pitchFamily="34" charset="0"/>
              <a:sym typeface="Avenir LT Std 55 Roman" panose="020B0503020203020204" pitchFamily="34" charset="0"/>
            </a:endParaRPr>
          </a:p>
        </p:txBody>
      </p:sp>
      <p:sp>
        <p:nvSpPr>
          <p:cNvPr id="28" name="Espace réservé du texte 2">
            <a:extLst>
              <a:ext uri="{FF2B5EF4-FFF2-40B4-BE49-F238E27FC236}">
                <a16:creationId xmlns:a16="http://schemas.microsoft.com/office/drawing/2014/main" id="{CB0BADC2-0225-8EF2-C999-E2C044C03FDA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auto">
          <a:xfrm>
            <a:off x="476644" y="1229683"/>
            <a:ext cx="1582738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900" dirty="0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Rédaction du planning prévisionnel</a:t>
            </a:r>
          </a:p>
        </p:txBody>
      </p:sp>
      <p:sp>
        <p:nvSpPr>
          <p:cNvPr id="29" name="Espace réservé du texte 2">
            <a:extLst>
              <a:ext uri="{FF2B5EF4-FFF2-40B4-BE49-F238E27FC236}">
                <a16:creationId xmlns:a16="http://schemas.microsoft.com/office/drawing/2014/main" id="{C5FF5441-CADE-7077-3D34-01D4C5A3BEEE}"/>
              </a:ext>
            </a:extLst>
          </p:cNvPr>
          <p:cNvSpPr>
            <a:spLocks noGrp="1"/>
          </p:cNvSpPr>
          <p:nvPr>
            <p:custDataLst>
              <p:tags r:id="rId63"/>
            </p:custDataLst>
          </p:nvPr>
        </p:nvSpPr>
        <p:spPr bwMode="auto">
          <a:xfrm>
            <a:off x="468491" y="5593243"/>
            <a:ext cx="1582738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900" dirty="0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Tests et validation de la détection des harmoniques</a:t>
            </a:r>
          </a:p>
        </p:txBody>
      </p:sp>
      <p:sp>
        <p:nvSpPr>
          <p:cNvPr id="30" name="Espace réservé du texte 2">
            <a:extLst>
              <a:ext uri="{FF2B5EF4-FFF2-40B4-BE49-F238E27FC236}">
                <a16:creationId xmlns:a16="http://schemas.microsoft.com/office/drawing/2014/main" id="{D57747C8-2975-6F62-0469-D3EA9A808800}"/>
              </a:ext>
            </a:extLst>
          </p:cNvPr>
          <p:cNvSpPr>
            <a:spLocks noGrp="1"/>
          </p:cNvSpPr>
          <p:nvPr>
            <p:custDataLst>
              <p:tags r:id="rId64"/>
            </p:custDataLst>
          </p:nvPr>
        </p:nvSpPr>
        <p:spPr bwMode="auto">
          <a:xfrm>
            <a:off x="472958" y="6001001"/>
            <a:ext cx="1582738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900" dirty="0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Rédaction du retour d’expérience</a:t>
            </a:r>
          </a:p>
        </p:txBody>
      </p:sp>
      <p:sp>
        <p:nvSpPr>
          <p:cNvPr id="31" name="Espace réservé du texte 2">
            <a:extLst>
              <a:ext uri="{FF2B5EF4-FFF2-40B4-BE49-F238E27FC236}">
                <a16:creationId xmlns:a16="http://schemas.microsoft.com/office/drawing/2014/main" id="{6788D31C-4E31-1D27-0F2C-9A56760A0142}"/>
              </a:ext>
            </a:extLst>
          </p:cNvPr>
          <p:cNvSpPr>
            <a:spLocks noGrp="1"/>
          </p:cNvSpPr>
          <p:nvPr>
            <p:custDataLst>
              <p:tags r:id="rId65"/>
            </p:custDataLst>
          </p:nvPr>
        </p:nvSpPr>
        <p:spPr bwMode="auto">
          <a:xfrm>
            <a:off x="471084" y="5797396"/>
            <a:ext cx="1582738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900" dirty="0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Rédaction du planning définitif</a:t>
            </a:r>
          </a:p>
        </p:txBody>
      </p:sp>
      <p:cxnSp>
        <p:nvCxnSpPr>
          <p:cNvPr id="32" name="Connecteur droit 31">
            <a:extLst>
              <a:ext uri="{FF2B5EF4-FFF2-40B4-BE49-F238E27FC236}">
                <a16:creationId xmlns:a16="http://schemas.microsoft.com/office/drawing/2014/main" id="{5BE920D7-827D-A4C4-0A83-8128386D1F9C}"/>
              </a:ext>
            </a:extLst>
          </p:cNvPr>
          <p:cNvCxnSpPr>
            <a:cxnSpLocks/>
          </p:cNvCxnSpPr>
          <p:nvPr>
            <p:custDataLst>
              <p:tags r:id="rId66"/>
            </p:custDataLst>
          </p:nvPr>
        </p:nvCxnSpPr>
        <p:spPr bwMode="auto">
          <a:xfrm>
            <a:off x="403859" y="3083800"/>
            <a:ext cx="1045800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6" name="Espace réservé du texte 2">
            <a:extLst>
              <a:ext uri="{FF2B5EF4-FFF2-40B4-BE49-F238E27FC236}">
                <a16:creationId xmlns:a16="http://schemas.microsoft.com/office/drawing/2014/main" id="{7A6D5DB3-0992-E1F1-61F3-4515C8689221}"/>
              </a:ext>
            </a:extLst>
          </p:cNvPr>
          <p:cNvSpPr>
            <a:spLocks noGrp="1"/>
          </p:cNvSpPr>
          <p:nvPr>
            <p:custDataLst>
              <p:tags r:id="rId67"/>
            </p:custDataLst>
          </p:nvPr>
        </p:nvSpPr>
        <p:spPr bwMode="auto">
          <a:xfrm>
            <a:off x="461347" y="4950944"/>
            <a:ext cx="1582738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900" dirty="0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Tests et validation de la mesure de la tension</a:t>
            </a:r>
          </a:p>
        </p:txBody>
      </p:sp>
      <p:sp>
        <p:nvSpPr>
          <p:cNvPr id="37" name="Espace réservé du texte 2">
            <a:extLst>
              <a:ext uri="{FF2B5EF4-FFF2-40B4-BE49-F238E27FC236}">
                <a16:creationId xmlns:a16="http://schemas.microsoft.com/office/drawing/2014/main" id="{046AF397-B771-37F9-C082-9FE352D436EB}"/>
              </a:ext>
            </a:extLst>
          </p:cNvPr>
          <p:cNvSpPr>
            <a:spLocks noGrp="1"/>
          </p:cNvSpPr>
          <p:nvPr>
            <p:custDataLst>
              <p:tags r:id="rId68"/>
            </p:custDataLst>
          </p:nvPr>
        </p:nvSpPr>
        <p:spPr bwMode="auto">
          <a:xfrm>
            <a:off x="463126" y="5164935"/>
            <a:ext cx="1582738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900" dirty="0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Tests et validation de la mesure du courant</a:t>
            </a:r>
          </a:p>
        </p:txBody>
      </p:sp>
      <p:sp>
        <p:nvSpPr>
          <p:cNvPr id="38" name="Espace réservé du texte 2">
            <a:extLst>
              <a:ext uri="{FF2B5EF4-FFF2-40B4-BE49-F238E27FC236}">
                <a16:creationId xmlns:a16="http://schemas.microsoft.com/office/drawing/2014/main" id="{CCF4F71E-828B-6743-5BCB-7053E5A42780}"/>
              </a:ext>
            </a:extLst>
          </p:cNvPr>
          <p:cNvSpPr>
            <a:spLocks noGrp="1"/>
          </p:cNvSpPr>
          <p:nvPr>
            <p:custDataLst>
              <p:tags r:id="rId69"/>
            </p:custDataLst>
          </p:nvPr>
        </p:nvSpPr>
        <p:spPr bwMode="auto">
          <a:xfrm>
            <a:off x="463868" y="5369724"/>
            <a:ext cx="1582738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900" dirty="0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Tests et validation de la mesure de la puissance</a:t>
            </a:r>
          </a:p>
        </p:txBody>
      </p:sp>
      <p:sp>
        <p:nvSpPr>
          <p:cNvPr id="49" name="Espace réservé du texte 2">
            <a:extLst>
              <a:ext uri="{FF2B5EF4-FFF2-40B4-BE49-F238E27FC236}">
                <a16:creationId xmlns:a16="http://schemas.microsoft.com/office/drawing/2014/main" id="{E9FF8282-E456-CE43-CF40-88E0A3E5CC19}"/>
              </a:ext>
            </a:extLst>
          </p:cNvPr>
          <p:cNvSpPr>
            <a:spLocks noGrp="1"/>
          </p:cNvSpPr>
          <p:nvPr>
            <p:custDataLst>
              <p:tags r:id="rId70"/>
            </p:custDataLst>
          </p:nvPr>
        </p:nvSpPr>
        <p:spPr bwMode="auto">
          <a:xfrm>
            <a:off x="9329629" y="799308"/>
            <a:ext cx="3603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1000" dirty="0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Mr </a:t>
            </a:r>
            <a:r>
              <a:rPr lang="fr-FR" sz="1000" dirty="0" err="1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Fiack</a:t>
            </a:r>
            <a:r>
              <a:rPr lang="fr-FR" sz="1000" dirty="0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 et Mr </a:t>
            </a:r>
            <a:r>
              <a:rPr lang="fr-FR" sz="1000" dirty="0" err="1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Papazoglou</a:t>
            </a:r>
            <a:endParaRPr lang="fr-FR" sz="1000" dirty="0">
              <a:latin typeface="Avenir LT Std 55 Roman" panose="020B0503020203020204" pitchFamily="34" charset="0"/>
              <a:sym typeface="Avenir LT Std 55 Roman" panose="020B0503020203020204" pitchFamily="34" charset="0"/>
            </a:endParaRPr>
          </a:p>
        </p:txBody>
      </p:sp>
      <p:sp>
        <p:nvSpPr>
          <p:cNvPr id="51" name="Espace réservé du texte 2">
            <a:extLst>
              <a:ext uri="{FF2B5EF4-FFF2-40B4-BE49-F238E27FC236}">
                <a16:creationId xmlns:a16="http://schemas.microsoft.com/office/drawing/2014/main" id="{B9615C5A-59B1-6DCC-6F9D-6353B4C1117B}"/>
              </a:ext>
            </a:extLst>
          </p:cNvPr>
          <p:cNvSpPr>
            <a:spLocks noGrp="1"/>
          </p:cNvSpPr>
          <p:nvPr>
            <p:custDataLst>
              <p:tags r:id="rId71"/>
            </p:custDataLst>
          </p:nvPr>
        </p:nvSpPr>
        <p:spPr bwMode="auto">
          <a:xfrm>
            <a:off x="9316084" y="1409701"/>
            <a:ext cx="3603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1000" dirty="0" err="1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Jingwen</a:t>
            </a:r>
            <a:r>
              <a:rPr lang="fr-FR" sz="1000" dirty="0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/Hicham/Julien/Anas</a:t>
            </a:r>
          </a:p>
        </p:txBody>
      </p:sp>
      <p:sp>
        <p:nvSpPr>
          <p:cNvPr id="52" name="Espace réservé du texte 2">
            <a:extLst>
              <a:ext uri="{FF2B5EF4-FFF2-40B4-BE49-F238E27FC236}">
                <a16:creationId xmlns:a16="http://schemas.microsoft.com/office/drawing/2014/main" id="{161B98C5-EF60-F070-BAD7-B75CA1F599BF}"/>
              </a:ext>
            </a:extLst>
          </p:cNvPr>
          <p:cNvSpPr>
            <a:spLocks noGrp="1"/>
          </p:cNvSpPr>
          <p:nvPr>
            <p:custDataLst>
              <p:tags r:id="rId72"/>
            </p:custDataLst>
          </p:nvPr>
        </p:nvSpPr>
        <p:spPr bwMode="auto">
          <a:xfrm>
            <a:off x="9316084" y="1174354"/>
            <a:ext cx="3603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1000" dirty="0" err="1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Jingwen</a:t>
            </a:r>
            <a:r>
              <a:rPr lang="fr-FR" sz="1000" dirty="0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/Hicham/Julien/Anas</a:t>
            </a:r>
          </a:p>
        </p:txBody>
      </p:sp>
      <p:sp>
        <p:nvSpPr>
          <p:cNvPr id="53" name="Espace réservé du texte 2">
            <a:extLst>
              <a:ext uri="{FF2B5EF4-FFF2-40B4-BE49-F238E27FC236}">
                <a16:creationId xmlns:a16="http://schemas.microsoft.com/office/drawing/2014/main" id="{D328CF3E-802E-0D83-77BA-800F15C386E3}"/>
              </a:ext>
            </a:extLst>
          </p:cNvPr>
          <p:cNvSpPr>
            <a:spLocks noGrp="1"/>
          </p:cNvSpPr>
          <p:nvPr>
            <p:custDataLst>
              <p:tags r:id="rId73"/>
            </p:custDataLst>
          </p:nvPr>
        </p:nvSpPr>
        <p:spPr bwMode="auto">
          <a:xfrm>
            <a:off x="9328867" y="973496"/>
            <a:ext cx="3603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1000" dirty="0" err="1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Jingwen</a:t>
            </a:r>
            <a:r>
              <a:rPr lang="fr-FR" sz="1000" dirty="0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/Hicham/Julien/Anas</a:t>
            </a:r>
          </a:p>
        </p:txBody>
      </p:sp>
      <p:sp>
        <p:nvSpPr>
          <p:cNvPr id="54" name="Triangle isocèle 219">
            <a:extLst>
              <a:ext uri="{FF2B5EF4-FFF2-40B4-BE49-F238E27FC236}">
                <a16:creationId xmlns:a16="http://schemas.microsoft.com/office/drawing/2014/main" id="{3A34FE40-86B7-86D5-7BB3-25549DF2614D}"/>
              </a:ext>
            </a:extLst>
          </p:cNvPr>
          <p:cNvSpPr/>
          <p:nvPr>
            <p:custDataLst>
              <p:tags r:id="rId74"/>
            </p:custDataLst>
          </p:nvPr>
        </p:nvSpPr>
        <p:spPr bwMode="gray">
          <a:xfrm>
            <a:off x="3783397" y="570392"/>
            <a:ext cx="114300" cy="114300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5" name="Espace réservé du texte 2">
            <a:extLst>
              <a:ext uri="{FF2B5EF4-FFF2-40B4-BE49-F238E27FC236}">
                <a16:creationId xmlns:a16="http://schemas.microsoft.com/office/drawing/2014/main" id="{512E710F-159B-AF74-F38C-26699498E925}"/>
              </a:ext>
            </a:extLst>
          </p:cNvPr>
          <p:cNvSpPr>
            <a:spLocks noGrp="1"/>
          </p:cNvSpPr>
          <p:nvPr>
            <p:custDataLst>
              <p:tags r:id="rId75"/>
            </p:custDataLst>
          </p:nvPr>
        </p:nvSpPr>
        <p:spPr bwMode="auto">
          <a:xfrm>
            <a:off x="3683601" y="703375"/>
            <a:ext cx="488721" cy="1381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500" b="1" dirty="0">
                <a:solidFill>
                  <a:schemeClr val="accent1"/>
                </a:solidFill>
                <a:latin typeface="Avenir LT Std 65 Medium" panose="020B0803020203020204" pitchFamily="34" charset="0"/>
                <a:sym typeface="Avenir LT Std 65 Medium" panose="020B0803020203020204" pitchFamily="34" charset="0"/>
              </a:rPr>
              <a:t>26/02/2024</a:t>
            </a:r>
          </a:p>
        </p:txBody>
      </p:sp>
      <p:sp>
        <p:nvSpPr>
          <p:cNvPr id="62" name="Triangle isocèle 219">
            <a:extLst>
              <a:ext uri="{FF2B5EF4-FFF2-40B4-BE49-F238E27FC236}">
                <a16:creationId xmlns:a16="http://schemas.microsoft.com/office/drawing/2014/main" id="{EE7F4663-4B0E-CD38-F1C3-266DF7C80A70}"/>
              </a:ext>
            </a:extLst>
          </p:cNvPr>
          <p:cNvSpPr/>
          <p:nvPr>
            <p:custDataLst>
              <p:tags r:id="rId76"/>
            </p:custDataLst>
          </p:nvPr>
        </p:nvSpPr>
        <p:spPr bwMode="gray">
          <a:xfrm>
            <a:off x="3775566" y="888010"/>
            <a:ext cx="114300" cy="114300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3" name="Espace réservé du texte 2">
            <a:extLst>
              <a:ext uri="{FF2B5EF4-FFF2-40B4-BE49-F238E27FC236}">
                <a16:creationId xmlns:a16="http://schemas.microsoft.com/office/drawing/2014/main" id="{DD067398-7832-352F-ADF8-D8C4A79D1E56}"/>
              </a:ext>
            </a:extLst>
          </p:cNvPr>
          <p:cNvSpPr>
            <a:spLocks noGrp="1"/>
          </p:cNvSpPr>
          <p:nvPr>
            <p:custDataLst>
              <p:tags r:id="rId77"/>
            </p:custDataLst>
          </p:nvPr>
        </p:nvSpPr>
        <p:spPr bwMode="auto">
          <a:xfrm>
            <a:off x="3663801" y="1028984"/>
            <a:ext cx="488721" cy="1381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500" b="1" dirty="0">
                <a:solidFill>
                  <a:schemeClr val="accent1"/>
                </a:solidFill>
                <a:latin typeface="Avenir LT Std 65 Medium" panose="020B0803020203020204" pitchFamily="34" charset="0"/>
                <a:sym typeface="Avenir LT Std 65 Medium" panose="020B0803020203020204" pitchFamily="34" charset="0"/>
              </a:rPr>
              <a:t>26/02/2024</a:t>
            </a:r>
          </a:p>
        </p:txBody>
      </p:sp>
      <p:sp>
        <p:nvSpPr>
          <p:cNvPr id="64" name="Triangle isocèle 219">
            <a:extLst>
              <a:ext uri="{FF2B5EF4-FFF2-40B4-BE49-F238E27FC236}">
                <a16:creationId xmlns:a16="http://schemas.microsoft.com/office/drawing/2014/main" id="{9CE0737E-D451-DEAD-5979-81F40329CF41}"/>
              </a:ext>
            </a:extLst>
          </p:cNvPr>
          <p:cNvSpPr/>
          <p:nvPr>
            <p:custDataLst>
              <p:tags r:id="rId78"/>
            </p:custDataLst>
          </p:nvPr>
        </p:nvSpPr>
        <p:spPr bwMode="gray">
          <a:xfrm>
            <a:off x="3927961" y="781054"/>
            <a:ext cx="114300" cy="114300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5" name="Espace réservé du texte 2">
            <a:extLst>
              <a:ext uri="{FF2B5EF4-FFF2-40B4-BE49-F238E27FC236}">
                <a16:creationId xmlns:a16="http://schemas.microsoft.com/office/drawing/2014/main" id="{9F82A05A-649B-C163-0F95-845F1D4F2BC5}"/>
              </a:ext>
            </a:extLst>
          </p:cNvPr>
          <p:cNvSpPr>
            <a:spLocks noGrp="1"/>
          </p:cNvSpPr>
          <p:nvPr>
            <p:custDataLst>
              <p:tags r:id="rId79"/>
            </p:custDataLst>
          </p:nvPr>
        </p:nvSpPr>
        <p:spPr bwMode="auto">
          <a:xfrm>
            <a:off x="3889866" y="915861"/>
            <a:ext cx="488721" cy="1381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500" b="1" dirty="0">
                <a:solidFill>
                  <a:schemeClr val="accent1"/>
                </a:solidFill>
                <a:latin typeface="Avenir LT Std 65 Medium" panose="020B0803020203020204" pitchFamily="34" charset="0"/>
                <a:sym typeface="Avenir LT Std 65 Medium" panose="020B0803020203020204" pitchFamily="34" charset="0"/>
              </a:rPr>
              <a:t>28/02/2024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B4B67FE8-1F41-7C89-6B3A-F625AB0974F7}"/>
              </a:ext>
            </a:extLst>
          </p:cNvPr>
          <p:cNvSpPr/>
          <p:nvPr>
            <p:custDataLst>
              <p:tags r:id="rId80"/>
            </p:custDataLst>
          </p:nvPr>
        </p:nvSpPr>
        <p:spPr bwMode="auto">
          <a:xfrm>
            <a:off x="4109164" y="1435628"/>
            <a:ext cx="626128" cy="103223"/>
          </a:xfrm>
          <a:prstGeom prst="rect">
            <a:avLst/>
          </a:prstGeom>
          <a:solidFill>
            <a:srgbClr val="C0C0C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9" name="Triangle isocèle 219">
            <a:extLst>
              <a:ext uri="{FF2B5EF4-FFF2-40B4-BE49-F238E27FC236}">
                <a16:creationId xmlns:a16="http://schemas.microsoft.com/office/drawing/2014/main" id="{355EE7DA-2B42-D360-25B3-5525A85945F6}"/>
              </a:ext>
            </a:extLst>
          </p:cNvPr>
          <p:cNvSpPr/>
          <p:nvPr>
            <p:custDataLst>
              <p:tags r:id="rId81"/>
            </p:custDataLst>
          </p:nvPr>
        </p:nvSpPr>
        <p:spPr bwMode="gray">
          <a:xfrm>
            <a:off x="4662660" y="1693612"/>
            <a:ext cx="114300" cy="114300"/>
          </a:xfrm>
          <a:prstGeom prst="triangle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1" name="Triangle isocèle 219">
            <a:extLst>
              <a:ext uri="{FF2B5EF4-FFF2-40B4-BE49-F238E27FC236}">
                <a16:creationId xmlns:a16="http://schemas.microsoft.com/office/drawing/2014/main" id="{AB718524-B705-6688-2DB9-77991E24983B}"/>
              </a:ext>
            </a:extLst>
          </p:cNvPr>
          <p:cNvSpPr/>
          <p:nvPr>
            <p:custDataLst>
              <p:tags r:id="rId82"/>
            </p:custDataLst>
          </p:nvPr>
        </p:nvSpPr>
        <p:spPr bwMode="gray">
          <a:xfrm>
            <a:off x="5059366" y="1846012"/>
            <a:ext cx="114300" cy="114300"/>
          </a:xfrm>
          <a:prstGeom prst="triangle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3" name="Triangle isocèle 219">
            <a:extLst>
              <a:ext uri="{FF2B5EF4-FFF2-40B4-BE49-F238E27FC236}">
                <a16:creationId xmlns:a16="http://schemas.microsoft.com/office/drawing/2014/main" id="{443DD4CC-FE5F-E25E-551D-D478B0F89046}"/>
              </a:ext>
            </a:extLst>
          </p:cNvPr>
          <p:cNvSpPr/>
          <p:nvPr>
            <p:custDataLst>
              <p:tags r:id="rId83"/>
            </p:custDataLst>
          </p:nvPr>
        </p:nvSpPr>
        <p:spPr bwMode="gray">
          <a:xfrm>
            <a:off x="5232707" y="2043170"/>
            <a:ext cx="114300" cy="114300"/>
          </a:xfrm>
          <a:prstGeom prst="triangle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1" name="Espace réservé du texte 2">
            <a:extLst>
              <a:ext uri="{FF2B5EF4-FFF2-40B4-BE49-F238E27FC236}">
                <a16:creationId xmlns:a16="http://schemas.microsoft.com/office/drawing/2014/main" id="{92515301-232F-7A26-20DA-24D57B940790}"/>
              </a:ext>
            </a:extLst>
          </p:cNvPr>
          <p:cNvSpPr>
            <a:spLocks noGrp="1"/>
          </p:cNvSpPr>
          <p:nvPr>
            <p:custDataLst>
              <p:tags r:id="rId84"/>
            </p:custDataLst>
          </p:nvPr>
        </p:nvSpPr>
        <p:spPr bwMode="auto">
          <a:xfrm>
            <a:off x="482728" y="4566918"/>
            <a:ext cx="2385739" cy="1418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900" dirty="0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Développement software phase 3 (Puissance)</a:t>
            </a:r>
          </a:p>
        </p:txBody>
      </p:sp>
      <p:cxnSp>
        <p:nvCxnSpPr>
          <p:cNvPr id="100" name="Connecteur droit 99">
            <a:extLst>
              <a:ext uri="{FF2B5EF4-FFF2-40B4-BE49-F238E27FC236}">
                <a16:creationId xmlns:a16="http://schemas.microsoft.com/office/drawing/2014/main" id="{5D30AEE4-A606-3690-F2B4-709D92B8ADD1}"/>
              </a:ext>
            </a:extLst>
          </p:cNvPr>
          <p:cNvCxnSpPr>
            <a:cxnSpLocks/>
          </p:cNvCxnSpPr>
          <p:nvPr/>
        </p:nvCxnSpPr>
        <p:spPr>
          <a:xfrm>
            <a:off x="5289857" y="2171663"/>
            <a:ext cx="0" cy="191154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06" name="Espace réservé du texte 2">
            <a:extLst>
              <a:ext uri="{FF2B5EF4-FFF2-40B4-BE49-F238E27FC236}">
                <a16:creationId xmlns:a16="http://schemas.microsoft.com/office/drawing/2014/main" id="{7F128813-1B8B-29CB-A433-B55934CB9528}"/>
              </a:ext>
            </a:extLst>
          </p:cNvPr>
          <p:cNvSpPr>
            <a:spLocks noGrp="1"/>
          </p:cNvSpPr>
          <p:nvPr>
            <p:custDataLst>
              <p:tags r:id="rId85"/>
            </p:custDataLst>
          </p:nvPr>
        </p:nvSpPr>
        <p:spPr bwMode="auto">
          <a:xfrm>
            <a:off x="504121" y="3128284"/>
            <a:ext cx="1577975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pt-BR" altLang="en-US" sz="900" dirty="0" err="1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Validation</a:t>
            </a:r>
            <a:r>
              <a:rPr lang="pt-BR" altLang="en-US" sz="900" dirty="0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 de </a:t>
            </a:r>
            <a:r>
              <a:rPr lang="pt-BR" altLang="en-US" sz="900" dirty="0" err="1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la</a:t>
            </a:r>
            <a:r>
              <a:rPr lang="pt-BR" altLang="en-US" sz="900" dirty="0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 1ère </a:t>
            </a:r>
            <a:r>
              <a:rPr lang="pt-BR" altLang="en-US" sz="900" dirty="0" err="1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version</a:t>
            </a:r>
            <a:r>
              <a:rPr lang="pt-BR" altLang="en-US" sz="900" dirty="0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 </a:t>
            </a:r>
            <a:r>
              <a:rPr lang="pt-BR" altLang="en-US" sz="900" dirty="0" err="1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des</a:t>
            </a:r>
            <a:r>
              <a:rPr lang="pt-BR" altLang="en-US" sz="900" dirty="0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 PCB</a:t>
            </a:r>
            <a:endParaRPr lang="fr-FR" sz="900" dirty="0">
              <a:latin typeface="Avenir LT Std 55 Roman" panose="020B0503020203020204" pitchFamily="34" charset="0"/>
              <a:sym typeface="Avenir LT Std 55 Roman" panose="020B0503020203020204" pitchFamily="34" charset="0"/>
            </a:endParaRPr>
          </a:p>
        </p:txBody>
      </p:sp>
      <p:sp>
        <p:nvSpPr>
          <p:cNvPr id="107" name="Espace réservé du texte 2">
            <a:extLst>
              <a:ext uri="{FF2B5EF4-FFF2-40B4-BE49-F238E27FC236}">
                <a16:creationId xmlns:a16="http://schemas.microsoft.com/office/drawing/2014/main" id="{19E1BB06-A7F6-38DE-BF13-AF13FF5FFB89}"/>
              </a:ext>
            </a:extLst>
          </p:cNvPr>
          <p:cNvSpPr>
            <a:spLocks noGrp="1"/>
          </p:cNvSpPr>
          <p:nvPr>
            <p:custDataLst>
              <p:tags r:id="rId86"/>
            </p:custDataLst>
          </p:nvPr>
        </p:nvSpPr>
        <p:spPr bwMode="auto">
          <a:xfrm>
            <a:off x="468491" y="6199756"/>
            <a:ext cx="1582738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900" dirty="0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Finalisation du GITHUB</a:t>
            </a:r>
          </a:p>
        </p:txBody>
      </p:sp>
      <p:sp>
        <p:nvSpPr>
          <p:cNvPr id="113" name="Espace réservé du texte 2">
            <a:extLst>
              <a:ext uri="{FF2B5EF4-FFF2-40B4-BE49-F238E27FC236}">
                <a16:creationId xmlns:a16="http://schemas.microsoft.com/office/drawing/2014/main" id="{89035DE5-C988-0582-4958-F9180F38E530}"/>
              </a:ext>
            </a:extLst>
          </p:cNvPr>
          <p:cNvSpPr>
            <a:spLocks noGrp="1"/>
          </p:cNvSpPr>
          <p:nvPr>
            <p:custDataLst>
              <p:tags r:id="rId87"/>
            </p:custDataLst>
          </p:nvPr>
        </p:nvSpPr>
        <p:spPr bwMode="auto">
          <a:xfrm>
            <a:off x="461347" y="6405930"/>
            <a:ext cx="1582738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900" dirty="0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Présentation orale</a:t>
            </a:r>
          </a:p>
        </p:txBody>
      </p:sp>
      <p:cxnSp>
        <p:nvCxnSpPr>
          <p:cNvPr id="141" name="Connecteur droit 140">
            <a:extLst>
              <a:ext uri="{FF2B5EF4-FFF2-40B4-BE49-F238E27FC236}">
                <a16:creationId xmlns:a16="http://schemas.microsoft.com/office/drawing/2014/main" id="{D8FBC397-1A61-F7DC-02DF-7C8670EE7438}"/>
              </a:ext>
            </a:extLst>
          </p:cNvPr>
          <p:cNvCxnSpPr>
            <a:cxnSpLocks/>
          </p:cNvCxnSpPr>
          <p:nvPr>
            <p:custDataLst>
              <p:tags r:id="rId88"/>
            </p:custDataLst>
          </p:nvPr>
        </p:nvCxnSpPr>
        <p:spPr bwMode="auto">
          <a:xfrm>
            <a:off x="403225" y="5760736"/>
            <a:ext cx="10458002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2" name="Rectangle 141">
            <a:extLst>
              <a:ext uri="{FF2B5EF4-FFF2-40B4-BE49-F238E27FC236}">
                <a16:creationId xmlns:a16="http://schemas.microsoft.com/office/drawing/2014/main" id="{00F55662-F761-3EDD-761E-0B14F961B904}"/>
              </a:ext>
            </a:extLst>
          </p:cNvPr>
          <p:cNvSpPr/>
          <p:nvPr>
            <p:custDataLst>
              <p:tags r:id="rId89"/>
            </p:custDataLst>
          </p:nvPr>
        </p:nvSpPr>
        <p:spPr bwMode="auto">
          <a:xfrm>
            <a:off x="8174271" y="6232713"/>
            <a:ext cx="2009775" cy="98425"/>
          </a:xfrm>
          <a:prstGeom prst="rect">
            <a:avLst/>
          </a:prstGeom>
          <a:solidFill>
            <a:srgbClr val="FFC00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3" name="Rectangle 142">
            <a:extLst>
              <a:ext uri="{FF2B5EF4-FFF2-40B4-BE49-F238E27FC236}">
                <a16:creationId xmlns:a16="http://schemas.microsoft.com/office/drawing/2014/main" id="{38B306A9-25F3-4F4A-83DD-B724AC950909}"/>
              </a:ext>
            </a:extLst>
          </p:cNvPr>
          <p:cNvSpPr/>
          <p:nvPr>
            <p:custDataLst>
              <p:tags r:id="rId90"/>
            </p:custDataLst>
          </p:nvPr>
        </p:nvSpPr>
        <p:spPr bwMode="auto">
          <a:xfrm>
            <a:off x="5690658" y="2486380"/>
            <a:ext cx="1096162" cy="103973"/>
          </a:xfrm>
          <a:prstGeom prst="rect">
            <a:avLst/>
          </a:prstGeom>
          <a:solidFill>
            <a:schemeClr val="accent6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9DA29FC4-5A64-E1CD-B75A-9B93AABA8D2C}"/>
              </a:ext>
            </a:extLst>
          </p:cNvPr>
          <p:cNvSpPr/>
          <p:nvPr>
            <p:custDataLst>
              <p:tags r:id="rId91"/>
            </p:custDataLst>
          </p:nvPr>
        </p:nvSpPr>
        <p:spPr bwMode="auto">
          <a:xfrm>
            <a:off x="5355304" y="2693917"/>
            <a:ext cx="1935216" cy="81639"/>
          </a:xfrm>
          <a:prstGeom prst="rect">
            <a:avLst/>
          </a:prstGeom>
          <a:solidFill>
            <a:schemeClr val="accent6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50" name="Triangle isocèle 219">
            <a:extLst>
              <a:ext uri="{FF2B5EF4-FFF2-40B4-BE49-F238E27FC236}">
                <a16:creationId xmlns:a16="http://schemas.microsoft.com/office/drawing/2014/main" id="{1DC04A74-D1DC-E1FB-AD80-0A3DE2B96E41}"/>
              </a:ext>
            </a:extLst>
          </p:cNvPr>
          <p:cNvSpPr/>
          <p:nvPr>
            <p:custDataLst>
              <p:tags r:id="rId92"/>
            </p:custDataLst>
          </p:nvPr>
        </p:nvSpPr>
        <p:spPr bwMode="gray">
          <a:xfrm>
            <a:off x="6761730" y="3105884"/>
            <a:ext cx="114300" cy="114300"/>
          </a:xfrm>
          <a:prstGeom prst="triangle">
            <a:avLst/>
          </a:prstGeom>
          <a:solidFill>
            <a:srgbClr val="A1006B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52" name="Espace réservé du texte 2">
            <a:extLst>
              <a:ext uri="{FF2B5EF4-FFF2-40B4-BE49-F238E27FC236}">
                <a16:creationId xmlns:a16="http://schemas.microsoft.com/office/drawing/2014/main" id="{A1D7FAE1-691A-9D6A-39DD-D6931765BEA2}"/>
              </a:ext>
            </a:extLst>
          </p:cNvPr>
          <p:cNvSpPr>
            <a:spLocks noGrp="1"/>
          </p:cNvSpPr>
          <p:nvPr>
            <p:custDataLst>
              <p:tags r:id="rId93"/>
            </p:custDataLst>
          </p:nvPr>
        </p:nvSpPr>
        <p:spPr bwMode="auto">
          <a:xfrm>
            <a:off x="4554155" y="1827900"/>
            <a:ext cx="488721" cy="1381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500" b="1" dirty="0">
                <a:solidFill>
                  <a:srgbClr val="FFC000"/>
                </a:solidFill>
                <a:latin typeface="Avenir LT Std 65 Medium" panose="020B0803020203020204" pitchFamily="34" charset="0"/>
                <a:sym typeface="Avenir LT Std 65 Medium" panose="020B0803020203020204" pitchFamily="34" charset="0"/>
              </a:rPr>
              <a:t>15/03/2024</a:t>
            </a:r>
          </a:p>
        </p:txBody>
      </p:sp>
      <p:sp>
        <p:nvSpPr>
          <p:cNvPr id="156" name="Espace réservé du texte 2">
            <a:extLst>
              <a:ext uri="{FF2B5EF4-FFF2-40B4-BE49-F238E27FC236}">
                <a16:creationId xmlns:a16="http://schemas.microsoft.com/office/drawing/2014/main" id="{9337CD69-A4B5-F5A4-A2D6-910BBFFB2834}"/>
              </a:ext>
            </a:extLst>
          </p:cNvPr>
          <p:cNvSpPr>
            <a:spLocks noGrp="1"/>
          </p:cNvSpPr>
          <p:nvPr>
            <p:custDataLst>
              <p:tags r:id="rId94"/>
            </p:custDataLst>
          </p:nvPr>
        </p:nvSpPr>
        <p:spPr bwMode="auto">
          <a:xfrm>
            <a:off x="4951579" y="1987657"/>
            <a:ext cx="488721" cy="1381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500" b="1" dirty="0">
                <a:solidFill>
                  <a:srgbClr val="FFC000"/>
                </a:solidFill>
                <a:latin typeface="Avenir LT Std 65 Medium" panose="020B0803020203020204" pitchFamily="34" charset="0"/>
                <a:sym typeface="Avenir LT Std 65 Medium" panose="020B0803020203020204" pitchFamily="34" charset="0"/>
              </a:rPr>
              <a:t>22/03/2024</a:t>
            </a:r>
          </a:p>
        </p:txBody>
      </p:sp>
      <p:sp>
        <p:nvSpPr>
          <p:cNvPr id="160" name="Espace réservé du texte 2">
            <a:extLst>
              <a:ext uri="{FF2B5EF4-FFF2-40B4-BE49-F238E27FC236}">
                <a16:creationId xmlns:a16="http://schemas.microsoft.com/office/drawing/2014/main" id="{B967A10F-3231-7664-270A-26A4CBBC7E08}"/>
              </a:ext>
            </a:extLst>
          </p:cNvPr>
          <p:cNvSpPr>
            <a:spLocks noGrp="1"/>
          </p:cNvSpPr>
          <p:nvPr>
            <p:custDataLst>
              <p:tags r:id="rId95"/>
            </p:custDataLst>
          </p:nvPr>
        </p:nvSpPr>
        <p:spPr bwMode="auto">
          <a:xfrm>
            <a:off x="5091191" y="2165633"/>
            <a:ext cx="488721" cy="1381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500" b="1" dirty="0">
                <a:solidFill>
                  <a:srgbClr val="FFC000"/>
                </a:solidFill>
                <a:latin typeface="Avenir LT Std 65 Medium" panose="020B0803020203020204" pitchFamily="34" charset="0"/>
                <a:sym typeface="Avenir LT Std 65 Medium" panose="020B0803020203020204" pitchFamily="34" charset="0"/>
              </a:rPr>
              <a:t>28/03/2024</a:t>
            </a:r>
          </a:p>
        </p:txBody>
      </p:sp>
      <p:sp>
        <p:nvSpPr>
          <p:cNvPr id="161" name="Espace réservé du texte 2">
            <a:extLst>
              <a:ext uri="{FF2B5EF4-FFF2-40B4-BE49-F238E27FC236}">
                <a16:creationId xmlns:a16="http://schemas.microsoft.com/office/drawing/2014/main" id="{C74CB83D-5AB5-986D-4AE0-60492D7D8732}"/>
              </a:ext>
            </a:extLst>
          </p:cNvPr>
          <p:cNvSpPr>
            <a:spLocks noGrp="1"/>
          </p:cNvSpPr>
          <p:nvPr>
            <p:custDataLst>
              <p:tags r:id="rId96"/>
            </p:custDataLst>
          </p:nvPr>
        </p:nvSpPr>
        <p:spPr bwMode="auto">
          <a:xfrm>
            <a:off x="6676437" y="3236916"/>
            <a:ext cx="488721" cy="1381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500" b="1" dirty="0">
                <a:solidFill>
                  <a:srgbClr val="A1006B"/>
                </a:solidFill>
                <a:latin typeface="Avenir LT Std 65 Medium" panose="020B0803020203020204" pitchFamily="34" charset="0"/>
                <a:sym typeface="Avenir LT Std 65 Medium" panose="020B0803020203020204" pitchFamily="34" charset="0"/>
              </a:rPr>
              <a:t>02/05/2024</a:t>
            </a:r>
          </a:p>
        </p:txBody>
      </p:sp>
      <p:sp>
        <p:nvSpPr>
          <p:cNvPr id="163" name="Triangle isocèle 219">
            <a:extLst>
              <a:ext uri="{FF2B5EF4-FFF2-40B4-BE49-F238E27FC236}">
                <a16:creationId xmlns:a16="http://schemas.microsoft.com/office/drawing/2014/main" id="{A0800C3F-F917-A5B1-92AD-006DBE214A5D}"/>
              </a:ext>
            </a:extLst>
          </p:cNvPr>
          <p:cNvSpPr/>
          <p:nvPr>
            <p:custDataLst>
              <p:tags r:id="rId97"/>
            </p:custDataLst>
          </p:nvPr>
        </p:nvSpPr>
        <p:spPr bwMode="gray">
          <a:xfrm>
            <a:off x="6914130" y="3283860"/>
            <a:ext cx="114300" cy="114300"/>
          </a:xfrm>
          <a:prstGeom prst="triangle">
            <a:avLst/>
          </a:prstGeom>
          <a:solidFill>
            <a:srgbClr val="A1006B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64" name="Espace réservé du texte 2">
            <a:extLst>
              <a:ext uri="{FF2B5EF4-FFF2-40B4-BE49-F238E27FC236}">
                <a16:creationId xmlns:a16="http://schemas.microsoft.com/office/drawing/2014/main" id="{DBFD5CD1-91B2-BF44-7F54-3DEA90C835B4}"/>
              </a:ext>
            </a:extLst>
          </p:cNvPr>
          <p:cNvSpPr>
            <a:spLocks noGrp="1"/>
          </p:cNvSpPr>
          <p:nvPr>
            <p:custDataLst>
              <p:tags r:id="rId98"/>
            </p:custDataLst>
          </p:nvPr>
        </p:nvSpPr>
        <p:spPr bwMode="auto">
          <a:xfrm>
            <a:off x="6828837" y="3408498"/>
            <a:ext cx="488721" cy="1381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500" b="1" dirty="0">
                <a:solidFill>
                  <a:srgbClr val="A1006B"/>
                </a:solidFill>
                <a:latin typeface="Avenir LT Std 65 Medium" panose="020B0803020203020204" pitchFamily="34" charset="0"/>
                <a:sym typeface="Avenir LT Std 65 Medium" panose="020B0803020203020204" pitchFamily="34" charset="0"/>
              </a:rPr>
              <a:t>17/05/2024</a:t>
            </a:r>
          </a:p>
        </p:txBody>
      </p:sp>
      <p:sp>
        <p:nvSpPr>
          <p:cNvPr id="165" name="Triangle isocèle 219">
            <a:extLst>
              <a:ext uri="{FF2B5EF4-FFF2-40B4-BE49-F238E27FC236}">
                <a16:creationId xmlns:a16="http://schemas.microsoft.com/office/drawing/2014/main" id="{FCF728B7-2C42-100B-77B4-BE63C2F44574}"/>
              </a:ext>
            </a:extLst>
          </p:cNvPr>
          <p:cNvSpPr/>
          <p:nvPr>
            <p:custDataLst>
              <p:tags r:id="rId99"/>
            </p:custDataLst>
          </p:nvPr>
        </p:nvSpPr>
        <p:spPr bwMode="gray">
          <a:xfrm>
            <a:off x="6918744" y="3492966"/>
            <a:ext cx="114300" cy="114300"/>
          </a:xfrm>
          <a:prstGeom prst="triangle">
            <a:avLst/>
          </a:prstGeom>
          <a:solidFill>
            <a:srgbClr val="A1006B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68" name="Espace réservé du texte 2">
            <a:extLst>
              <a:ext uri="{FF2B5EF4-FFF2-40B4-BE49-F238E27FC236}">
                <a16:creationId xmlns:a16="http://schemas.microsoft.com/office/drawing/2014/main" id="{8E6CD5ED-5EBD-0271-F07D-19AD7F34478B}"/>
              </a:ext>
            </a:extLst>
          </p:cNvPr>
          <p:cNvSpPr>
            <a:spLocks noGrp="1"/>
          </p:cNvSpPr>
          <p:nvPr>
            <p:custDataLst>
              <p:tags r:id="rId100"/>
            </p:custDataLst>
          </p:nvPr>
        </p:nvSpPr>
        <p:spPr bwMode="auto">
          <a:xfrm>
            <a:off x="6833451" y="3617604"/>
            <a:ext cx="488721" cy="1381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500" b="1" dirty="0">
                <a:solidFill>
                  <a:srgbClr val="A1006B"/>
                </a:solidFill>
                <a:latin typeface="Avenir LT Std 65 Medium" panose="020B0803020203020204" pitchFamily="34" charset="0"/>
                <a:sym typeface="Avenir LT Std 65 Medium" panose="020B0803020203020204" pitchFamily="34" charset="0"/>
              </a:rPr>
              <a:t>17/05/2024</a:t>
            </a:r>
          </a:p>
        </p:txBody>
      </p:sp>
    </p:spTree>
    <p:extLst>
      <p:ext uri="{BB962C8B-B14F-4D97-AF65-F5344CB8AC3E}">
        <p14:creationId xmlns:p14="http://schemas.microsoft.com/office/powerpoint/2010/main" val="13880053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308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T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7&quot;&gt;&lt;elem m_fUsage=&quot;5.21703100000000041803E+00&quot;&gt;&lt;m_msothmcolidx val=&quot;0&quot;/&gt;&lt;m_rgb r=&quot;CD&quot; g=&quot;00&quot; b=&quot;37&quot;/&gt;&lt;/elem&gt;&lt;elem m_fUsage=&quot;7.36098929100000076708E-01&quot;&gt;&lt;m_msothmcolidx val=&quot;0&quot;/&gt;&lt;m_rgb r=&quot;B7&quot; g=&quot;63&quot; b=&quot;BB&quot;/&gt;&lt;/elem&gt;&lt;elem m_fUsage=&quot;4.78296900000000135833E-01&quot;&gt;&lt;m_msothmcolidx val=&quot;0&quot;/&gt;&lt;m_rgb r=&quot;E1&quot; g=&quot;A3&quot; b=&quot;D8&quot;/&gt;&lt;/elem&gt;&lt;elem m_fUsage=&quot;4.30467210000000155556E-01&quot;&gt;&lt;m_msothmcolidx val=&quot;0&quot;/&gt;&lt;m_rgb r=&quot;81&quot; g=&quot;5A&quot; b=&quot;AB&quot;/&gt;&lt;/elem&gt;&lt;elem m_fUsage=&quot;3.13810596090000171188E-01&quot;&gt;&lt;m_msothmcolidx val=&quot;0&quot;/&gt;&lt;m_rgb r=&quot;A1&quot; g=&quot;00&quot; b=&quot;6B&quot;/&gt;&lt;/elem&gt;&lt;elem m_fUsage=&quot;2.82429536481000165171E-01&quot;&gt;&lt;m_msothmcolidx val=&quot;0&quot;/&gt;&lt;m_rgb r=&quot;E9&quot; g=&quot;33&quot; b=&quot;16&quot;/&gt;&lt;/elem&gt;&lt;elem m_fUsage=&quot;2.54186582832900132001E-01&quot;&gt;&lt;m_msothmcolidx val=&quot;0&quot;/&gt;&lt;m_rgb r=&quot;D4&quot; g=&quot;9B&quot; b=&quot;0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uAw6iQLhFyxYNyYkRVeU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nzvYpb8xUUXo2zwXXaK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yMy5.HKP1A.bRPl9ctz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nzvYpb8xUUXo2zwXXaK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mdmoy2sqFt_gO.ndlFlW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zmm4Shc1pjztnQGVBu.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5mwLtgeqJcwY8C0J7W8W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qqgKRMvg.1Cexc13TaR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_mxp_gMgmt4PtV7ACV0y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0JfLmd276HWisgE4fnkl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5JLsJ1ToL3A10InYn0AZ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aRVA44WbSo6nfDtJnkh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pCv8YbsBwONHJ_.fuq_3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pE0zhxMXkRPrMN94fxe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pN21D_PiP.I4LY_7xFZB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59e43IcPrNwXFMtH531Y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fCTohyby6kvqd9GJdXE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NIRqSeYGZE2bBAKibdH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i6Pyid9EbnVp6tuAwC7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Eip5cZZpjCZkdBNZZNy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gdzqJJzHzetUy.wjxLb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0YkJhOqakJ1PmtY1iY4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UwCnE0Fr__oCMIhIsDG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EECDcYj2wtqzcTdVVsW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yvtpR_IIm9aQUEnD07M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CDTNSWRfpijUJSaiRkn7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1W59lxSc4GQd8CAQW2j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TNEPnOMEVQ52B42LMYUR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oQa1a1DFXmIacOb89hd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yQfkABcp_KkqIGB98jH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8qo8GtU8gURu0GAyAPwx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sJD8TngnUU4T8j8.QSB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1WHgtbmWjJ.5FEWcY2Po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LEBcDAAbfZqClIqwKC7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79D4K.UWCbuU32sGOEPK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1o9i9K2AxAmgQoUOQSty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5kfV7FoELmxAR2NfXws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nuZZ_3RBGvIOEvvNg5z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.deRGsJlPdPvBGW47wc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mbYZKBUny8ztqwIhDLF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CZeYTwu06rb69IJZAeqW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OFEkamDYRaVqgQg1YcOR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7SLxDDviEGNkuSlLEHnE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8Ey7RDr6geBmtvZ1MN9G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7KNA.F9B9OtWCnMPOH1E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X9S2n6v89EFGt_VoXmdU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WcUJKZTrRadybVmzYao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9lwK5E3LAagBksrvhp.o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_qb49W7d4Qjhuhd_ZI5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nzvYpb8xUUXo2zwXXaK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qid8sosaRvlfSCn22Fa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zHy.xEmGggByK7qY_bH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Sik4sUsWw0rOZNX2P45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w9oQnVRJIsSNkjlvQXoi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fCTohyby6kvqd9GJdXE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FcVmn73neXMqfBNprKQ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1WHgtbmWjJ.5FEWcY2Po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1WHgtbmWjJ.5FEWcY2Po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1WHgtbmWjJ.5FEWcY2Po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OFEkamDYRaVqgQg1YcOR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OFEkamDYRaVqgQg1YcOR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OFEkamDYRaVqgQg1YcOR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OFEkamDYRaVqgQg1YcOR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OFEkamDYRaVqgQg1YcOR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fCTohyby6kvqd9GJdXE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OFEkamDYRaVqgQg1YcOR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Sbb5Q4nVTqldm9.C2.le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OFEkamDYRaVqgQg1YcOR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OFEkamDYRaVqgQg1YcOR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_qb49W7d4Qjhuhd_ZI5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_qb49W7d4Qjhuhd_ZI5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_qb49W7d4Qjhuhd_ZI5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_qb49W7d4Qjhuhd_ZI5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yMy5.HKP1A.bRPl9ctz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nzvYpb8xUUXo2zwXXaK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yMy5.HKP1A.bRPl9ctz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nzvYpb8xUUXo2zwXXaK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xswq5aBDMJt8Ib64C43s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yMy5.HKP1A.bRPl9ctz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nzvYpb8xUUXo2zwXXaK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EECDcYj2wtqzcTdVVsW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yMy5.HKP1A.bRPl9ctz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yMy5.HKP1A.bRPl9ctz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yMy5.HKP1A.bRPl9ctz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1WHgtbmWjJ.5FEWcY2Po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Sik4sUsWw0rOZNX2P45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OFEkamDYRaVqgQg1YcOR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OFEkamDYRaVqgQg1YcOR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yBXIb0TMjQgwlyBzBRp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59e43IcPrNwXFMtH531Y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8qo8GtU8gURu0GAyAPwx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UwCnE0Fr__oCMIhIsDG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UwCnE0Fr__oCMIhIsDG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yMy5.HKP1A.bRPl9ctz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nzvYpb8xUUXo2zwXXaK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nzvYpb8xUUXo2zwXXaK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nzvYpb8xUUXo2zwXXaK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nzvYpb8xUUXo2zwXXaK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yMy5.HKP1A.bRPl9ctzA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6</TotalTime>
  <Words>233</Words>
  <Application>Microsoft Macintosh PowerPoint</Application>
  <PresentationFormat>Grand écran</PresentationFormat>
  <Paragraphs>54</Paragraphs>
  <Slides>2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5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</vt:i4>
      </vt:variant>
    </vt:vector>
  </HeadingPairs>
  <TitlesOfParts>
    <vt:vector size="9" baseType="lpstr">
      <vt:lpstr>Arial</vt:lpstr>
      <vt:lpstr>Avenir LT Std 55 Roman</vt:lpstr>
      <vt:lpstr>Avenir LT Std 65 Medium</vt:lpstr>
      <vt:lpstr>Calibri</vt:lpstr>
      <vt:lpstr>Calibri Light</vt:lpstr>
      <vt:lpstr>Thème Office</vt:lpstr>
      <vt:lpstr>Diapositive think-cell</vt:lpstr>
      <vt:lpstr>Présentation PowerPoint</vt:lpstr>
      <vt:lpstr>Présentation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MARLOT CELINE (SNCF RESEAU)</dc:creator>
  <cp:lastModifiedBy>SAINT LEGER Julien (SNCF RESEAU / Directions Techniques Réseau / DGOP DTU Services TC)</cp:lastModifiedBy>
  <cp:revision>3</cp:revision>
  <dcterms:created xsi:type="dcterms:W3CDTF">2024-04-03T13:39:43Z</dcterms:created>
  <dcterms:modified xsi:type="dcterms:W3CDTF">2024-04-22T15:24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021ee20b-2db6-434b-a656-4500d2063055_Enabled">
    <vt:lpwstr>true</vt:lpwstr>
  </property>
  <property fmtid="{D5CDD505-2E9C-101B-9397-08002B2CF9AE}" pid="3" name="MSIP_Label_021ee20b-2db6-434b-a656-4500d2063055_SetDate">
    <vt:lpwstr>2024-04-22T14:35:16Z</vt:lpwstr>
  </property>
  <property fmtid="{D5CDD505-2E9C-101B-9397-08002B2CF9AE}" pid="4" name="MSIP_Label_021ee20b-2db6-434b-a656-4500d2063055_Method">
    <vt:lpwstr>Privileged</vt:lpwstr>
  </property>
  <property fmtid="{D5CDD505-2E9C-101B-9397-08002B2CF9AE}" pid="5" name="MSIP_Label_021ee20b-2db6-434b-a656-4500d2063055_Name">
    <vt:lpwstr>Sans Marquage - Groupe et Réseau</vt:lpwstr>
  </property>
  <property fmtid="{D5CDD505-2E9C-101B-9397-08002B2CF9AE}" pid="6" name="MSIP_Label_021ee20b-2db6-434b-a656-4500d2063055_SiteId">
    <vt:lpwstr>4a7c8238-5799-4b16-9fc6-9ad8fce5a7d9</vt:lpwstr>
  </property>
  <property fmtid="{D5CDD505-2E9C-101B-9397-08002B2CF9AE}" pid="7" name="MSIP_Label_021ee20b-2db6-434b-a656-4500d2063055_ActionId">
    <vt:lpwstr>6c109522-cb8a-47dd-acf7-2978593eadce</vt:lpwstr>
  </property>
  <property fmtid="{D5CDD505-2E9C-101B-9397-08002B2CF9AE}" pid="8" name="MSIP_Label_021ee20b-2db6-434b-a656-4500d2063055_ContentBits">
    <vt:lpwstr>0</vt:lpwstr>
  </property>
</Properties>
</file>